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4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1.xml" ContentType="application/vnd.openxmlformats-officedocument.presentationml.notesSlide+xml"/>
  <Override PartName="/ppt/tags/tag150.xml" ContentType="application/vnd.openxmlformats-officedocument.presentationml.tags+xml"/>
  <Override PartName="/ppt/notesSlides/notesSlide2.xml" ContentType="application/vnd.openxmlformats-officedocument.presentationml.notesSlide+xml"/>
  <Override PartName="/ppt/tags/tag151.xml" ContentType="application/vnd.openxmlformats-officedocument.presentationml.tags+xml"/>
  <Override PartName="/ppt/notesSlides/notesSlide3.xml" ContentType="application/vnd.openxmlformats-officedocument.presentationml.notesSlide+xml"/>
  <Override PartName="/ppt/tags/tag152.xml" ContentType="application/vnd.openxmlformats-officedocument.presentationml.tags+xml"/>
  <Override PartName="/ppt/notesSlides/notesSlide4.xml" ContentType="application/vnd.openxmlformats-officedocument.presentationml.notesSlide+xml"/>
  <Override PartName="/ppt/tags/tag153.xml" ContentType="application/vnd.openxmlformats-officedocument.presentationml.tags+xml"/>
  <Override PartName="/ppt/notesSlides/notesSlide5.xml" ContentType="application/vnd.openxmlformats-officedocument.presentationml.notesSlide+xml"/>
  <Override PartName="/ppt/tags/tag154.xml" ContentType="application/vnd.openxmlformats-officedocument.presentationml.tags+xml"/>
  <Override PartName="/ppt/notesSlides/notesSlide6.xml" ContentType="application/vnd.openxmlformats-officedocument.presentationml.notesSlide+xml"/>
  <Override PartName="/ppt/tags/tag155.xml" ContentType="application/vnd.openxmlformats-officedocument.presentationml.tags+xml"/>
  <Override PartName="/ppt/notesSlides/notesSlide7.xml" ContentType="application/vnd.openxmlformats-officedocument.presentationml.notesSlide+xml"/>
  <Override PartName="/ppt/tags/tag156.xml" ContentType="application/vnd.openxmlformats-officedocument.presentationml.tags+xml"/>
  <Override PartName="/ppt/notesSlides/notesSlide8.xml" ContentType="application/vnd.openxmlformats-officedocument.presentationml.notesSlide+xml"/>
  <Override PartName="/ppt/tags/tag157.xml" ContentType="application/vnd.openxmlformats-officedocument.presentationml.tags+xml"/>
  <Override PartName="/ppt/notesSlides/notesSlide9.xml" ContentType="application/vnd.openxmlformats-officedocument.presentationml.notesSlide+xml"/>
  <Override PartName="/ppt/tags/tag158.xml" ContentType="application/vnd.openxmlformats-officedocument.presentationml.tags+xml"/>
  <Override PartName="/ppt/notesSlides/notesSlide10.xml" ContentType="application/vnd.openxmlformats-officedocument.presentationml.notesSlide+xml"/>
  <Override PartName="/ppt/tags/tag159.xml" ContentType="application/vnd.openxmlformats-officedocument.presentationml.tags+xml"/>
  <Override PartName="/ppt/notesSlides/notesSlide11.xml" ContentType="application/vnd.openxmlformats-officedocument.presentationml.notesSlide+xml"/>
  <Override PartName="/ppt/tags/tag160.xml" ContentType="application/vnd.openxmlformats-officedocument.presentationml.tags+xml"/>
  <Override PartName="/ppt/notesSlides/notesSlide12.xml" ContentType="application/vnd.openxmlformats-officedocument.presentationml.notesSlide+xml"/>
  <Override PartName="/ppt/tags/tag161.xml" ContentType="application/vnd.openxmlformats-officedocument.presentationml.tags+xml"/>
  <Override PartName="/ppt/notesSlides/notesSlide13.xml" ContentType="application/vnd.openxmlformats-officedocument.presentationml.notesSlide+xml"/>
  <Override PartName="/ppt/tags/tag162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9" r:id="rId1"/>
    <p:sldMasterId id="2147483727" r:id="rId2"/>
    <p:sldMasterId id="2147483678" r:id="rId3"/>
    <p:sldMasterId id="2147483807" r:id="rId4"/>
  </p:sldMasterIdLst>
  <p:notesMasterIdLst>
    <p:notesMasterId r:id="rId20"/>
  </p:notesMasterIdLst>
  <p:handoutMasterIdLst>
    <p:handoutMasterId r:id="rId21"/>
  </p:handoutMasterIdLst>
  <p:sldIdLst>
    <p:sldId id="381" r:id="rId5"/>
    <p:sldId id="354" r:id="rId6"/>
    <p:sldId id="368" r:id="rId7"/>
    <p:sldId id="359" r:id="rId8"/>
    <p:sldId id="380" r:id="rId9"/>
    <p:sldId id="369" r:id="rId10"/>
    <p:sldId id="370" r:id="rId11"/>
    <p:sldId id="371" r:id="rId12"/>
    <p:sldId id="375" r:id="rId13"/>
    <p:sldId id="378" r:id="rId14"/>
    <p:sldId id="376" r:id="rId15"/>
    <p:sldId id="364" r:id="rId16"/>
    <p:sldId id="367" r:id="rId17"/>
    <p:sldId id="374" r:id="rId18"/>
    <p:sldId id="379" r:id="rId19"/>
  </p:sldIdLst>
  <p:sldSz cx="12198350" cy="6859588"/>
  <p:notesSz cx="7315200" cy="9601200"/>
  <p:custDataLst>
    <p:tags r:id="rId22"/>
  </p:custDataLst>
  <p:defaultTextStyle>
    <a:defPPr>
      <a:defRPr lang="de-DE"/>
    </a:defPPr>
    <a:lvl1pPr marL="0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47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95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43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91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239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87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135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83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0A250F7B-017C-4FE9-A998-1D42DABDA145}">
          <p14:sldIdLst>
            <p14:sldId id="381"/>
            <p14:sldId id="354"/>
            <p14:sldId id="368"/>
            <p14:sldId id="359"/>
            <p14:sldId id="380"/>
            <p14:sldId id="369"/>
            <p14:sldId id="370"/>
            <p14:sldId id="371"/>
            <p14:sldId id="375"/>
            <p14:sldId id="378"/>
            <p14:sldId id="376"/>
            <p14:sldId id="364"/>
            <p14:sldId id="367"/>
            <p14:sldId id="374"/>
            <p14:sldId id="37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027">
          <p15:clr>
            <a:srgbClr val="A4A3A4"/>
          </p15:clr>
        </p15:guide>
        <p15:guide id="2" orient="horz" pos="3974">
          <p15:clr>
            <a:srgbClr val="A4A3A4"/>
          </p15:clr>
        </p15:guide>
        <p15:guide id="3" orient="horz" pos="2455">
          <p15:clr>
            <a:srgbClr val="A4A3A4"/>
          </p15:clr>
        </p15:guide>
        <p15:guide id="4" orient="horz" pos="2545">
          <p15:clr>
            <a:srgbClr val="A4A3A4"/>
          </p15:clr>
        </p15:guide>
        <p15:guide id="5" orient="horz" pos="216">
          <p15:clr>
            <a:srgbClr val="A4A3A4"/>
          </p15:clr>
        </p15:guide>
        <p15:guide id="6" orient="horz" pos="4320">
          <p15:clr>
            <a:srgbClr val="A4A3A4"/>
          </p15:clr>
        </p15:guide>
        <p15:guide id="7" pos="304">
          <p15:clr>
            <a:srgbClr val="A4A3A4"/>
          </p15:clr>
        </p15:guide>
        <p15:guide id="8" pos="7335">
          <p15:clr>
            <a:srgbClr val="A4A3A4"/>
          </p15:clr>
        </p15:guide>
        <p15:guide id="9" pos="6064">
          <p15:clr>
            <a:srgbClr val="A4A3A4"/>
          </p15:clr>
        </p15:guide>
        <p15:guide id="10" pos="3774">
          <p15:clr>
            <a:srgbClr val="A4A3A4"/>
          </p15:clr>
        </p15:guide>
        <p15:guide id="11" pos="3864">
          <p15:clr>
            <a:srgbClr val="A4A3A4"/>
          </p15:clr>
        </p15:guide>
        <p15:guide id="12" pos="2589">
          <p15:clr>
            <a:srgbClr val="A4A3A4"/>
          </p15:clr>
        </p15:guide>
        <p15:guide id="13" pos="2680">
          <p15:clr>
            <a:srgbClr val="A4A3A4"/>
          </p15:clr>
        </p15:guide>
        <p15:guide id="14" pos="4962">
          <p15:clr>
            <a:srgbClr val="A4A3A4"/>
          </p15:clr>
        </p15:guide>
        <p15:guide id="15" pos="50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D5D2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93" autoAdjust="0"/>
    <p:restoredTop sz="80653" autoAdjust="0"/>
  </p:normalViewPr>
  <p:slideViewPr>
    <p:cSldViewPr snapToGrid="0" snapToObjects="1">
      <p:cViewPr varScale="1">
        <p:scale>
          <a:sx n="68" d="100"/>
          <a:sy n="68" d="100"/>
        </p:scale>
        <p:origin x="666" y="54"/>
      </p:cViewPr>
      <p:guideLst>
        <p:guide orient="horz" pos="1027"/>
        <p:guide orient="horz" pos="3974"/>
        <p:guide orient="horz" pos="2455"/>
        <p:guide orient="horz" pos="2545"/>
        <p:guide orient="horz" pos="216"/>
        <p:guide orient="horz" pos="4320"/>
        <p:guide pos="304"/>
        <p:guide pos="7335"/>
        <p:guide pos="6064"/>
        <p:guide pos="3774"/>
        <p:guide pos="3864"/>
        <p:guide pos="2589"/>
        <p:guide pos="2680"/>
        <p:guide pos="4962"/>
        <p:guide pos="50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-2040" y="-9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48.xml"/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r>
              <a:rPr lang="de-DE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r>
              <a:rPr lang="en-GB" dirty="0"/>
              <a:t>18/07/2016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de-DE" dirty="0" err="1"/>
              <a:t>Foot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B2FA5B6A-6044-4071-A30F-64758380422B}" type="slidenum">
              <a:rPr lang="de-DE" smtClean="0"/>
              <a:pPr/>
              <a:t>‹#›</a:t>
            </a:fld>
            <a:endParaRPr lang="de-DE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49513825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>
                <a:solidFill>
                  <a:schemeClr val="tx1"/>
                </a:solidFill>
              </a:defRPr>
            </a:lvl1pPr>
          </a:lstStyle>
          <a:p>
            <a:fld id="{7BD06FC8-DEE4-48EF-9679-B57AC3D69290}" type="datetimeFigureOut">
              <a:rPr lang="en-GB" smtClean="0"/>
              <a:pPr/>
              <a:t>11/07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55613" y="720725"/>
            <a:ext cx="6403975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06400" y="4560570"/>
            <a:ext cx="6502400" cy="432054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s level</a:t>
            </a:r>
          </a:p>
          <a:p>
            <a:pPr lvl="4"/>
            <a:r>
              <a:rPr lang="en-GB" dirty="0"/>
              <a:t>Fifths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>
                <a:solidFill>
                  <a:schemeClr val="tx1"/>
                </a:solidFill>
              </a:defRPr>
            </a:lvl1pPr>
          </a:lstStyle>
          <a:p>
            <a:fld id="{5F2B916F-318E-4940-99D2-6F2A912A4D1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3565599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0" algn="l" defTabSz="108895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1088959" rtl="0" eaLnBrk="1" latinLnBrk="0" hangingPunct="1">
      <a:buClr>
        <a:schemeClr val="bg2"/>
      </a:buClr>
      <a:buFont typeface="Arial" panose="020B0604020202020204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1088959" rtl="0" eaLnBrk="1" latinLnBrk="0" hangingPunct="1">
      <a:buClr>
        <a:schemeClr val="bg2"/>
      </a:buClr>
      <a:buFont typeface="Arial" panose="020B0604020202020204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1088959" rtl="0" eaLnBrk="1" latinLnBrk="0" hangingPunct="1">
      <a:buClr>
        <a:schemeClr val="bg2"/>
      </a:buClr>
      <a:buFont typeface="Arial" panose="020B0604020202020204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1088959" rtl="0" eaLnBrk="1" latinLnBrk="0" hangingPunct="1">
      <a:buClr>
        <a:schemeClr val="bg2"/>
      </a:buClr>
      <a:buFont typeface="Arial" panose="020B0604020202020204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2397" algn="l" defTabSz="108895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877" algn="l" defTabSz="108895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1356" algn="l" defTabSz="108895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836" algn="l" defTabSz="108895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cyber-dojo.org/kata/edit/D6HyKm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B916F-318E-4940-99D2-6F2A912A4D17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22736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B916F-318E-4940-99D2-6F2A912A4D17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4890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indent="-457200">
              <a:buAutoNum type="arabicPlain"/>
            </a:pPr>
            <a:r>
              <a:rPr lang="en-US" dirty="0"/>
              <a:t>Every line of code, every method is tested.</a:t>
            </a:r>
          </a:p>
          <a:p>
            <a:pPr marL="457200" indent="-457200"/>
            <a:r>
              <a:rPr lang="en-US" dirty="0"/>
              <a:t>	-	While new code is added, we would know if our code breaks some other functionality.</a:t>
            </a:r>
          </a:p>
          <a:p>
            <a:pPr marL="457200" indent="-457200">
              <a:buAutoNum type="arabicPlain" startAt="2"/>
            </a:pPr>
            <a:r>
              <a:rPr lang="en-US" dirty="0"/>
              <a:t>Writing test first, forces us to think from a different point of view. </a:t>
            </a:r>
          </a:p>
          <a:p>
            <a:pPr marL="457200" indent="-457200"/>
            <a:r>
              <a:rPr lang="en-US" dirty="0"/>
              <a:t>	-	We will try to make methods/classes conveniently callable.</a:t>
            </a:r>
          </a:p>
          <a:p>
            <a:pPr marL="457200" indent="-457200"/>
            <a:endParaRPr lang="en-US" dirty="0"/>
          </a:p>
          <a:p>
            <a:pPr marL="457200" indent="-457200">
              <a:buAutoNum type="arabicPlain" startAt="3"/>
            </a:pPr>
            <a:r>
              <a:rPr lang="en-US" dirty="0"/>
              <a:t>We make the code testable.</a:t>
            </a:r>
          </a:p>
          <a:p>
            <a:pPr marL="457200" indent="-457200"/>
            <a:r>
              <a:rPr lang="en-US" dirty="0"/>
              <a:t>	- 	Writing test first forces us to decouple the software.</a:t>
            </a:r>
          </a:p>
          <a:p>
            <a:pPr marL="457200" indent="-457200"/>
            <a:endParaRPr lang="en-US" dirty="0"/>
          </a:p>
          <a:p>
            <a:pPr marL="457200" indent="-457200">
              <a:buAutoNum type="arabicPlain" startAt="4"/>
            </a:pPr>
            <a:r>
              <a:rPr lang="en-US" dirty="0"/>
              <a:t>Writing test first, acts as a form of documentation.</a:t>
            </a:r>
          </a:p>
          <a:p>
            <a:pPr marL="1001679" lvl="1" indent="-457200">
              <a:buFontTx/>
              <a:buChar char="-"/>
            </a:pPr>
            <a:r>
              <a:rPr lang="en-US" dirty="0"/>
              <a:t>How to call a function or create a object can be directly viewed from tests.</a:t>
            </a:r>
          </a:p>
          <a:p>
            <a:pPr marL="457200" indent="-457200"/>
            <a:endParaRPr lang="en-US" dirty="0"/>
          </a:p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B916F-318E-4940-99D2-6F2A912A4D17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22736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B916F-318E-4940-99D2-6F2A912A4D17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22736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cuckoo.team/</a:t>
            </a:r>
          </a:p>
          <a:p>
            <a:r>
              <a:rPr lang="en-GB" dirty="0"/>
              <a:t>https://mobti.me/</a:t>
            </a:r>
          </a:p>
          <a:p>
            <a:r>
              <a:rPr lang="en-GB" dirty="0"/>
              <a:t>https://cyber-dojo.or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B916F-318E-4940-99D2-6F2A912A4D17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05928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cuckoo.team/</a:t>
            </a:r>
          </a:p>
          <a:p>
            <a:r>
              <a:rPr lang="en-GB" dirty="0"/>
              <a:t>https://mobti.me/</a:t>
            </a:r>
          </a:p>
          <a:p>
            <a:r>
              <a:rPr lang="en-US">
                <a:hlinkClick r:id="rId3"/>
              </a:rPr>
              <a:t>https://cyber-dojo.org/kata/edit/D6HyKm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B916F-318E-4940-99D2-6F2A912A4D17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46328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B916F-318E-4940-99D2-6F2A912A4D17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22736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B916F-318E-4940-99D2-6F2A912A4D17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22736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B916F-318E-4940-99D2-6F2A912A4D17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79298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B916F-318E-4940-99D2-6F2A912A4D17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8018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B916F-318E-4940-99D2-6F2A912A4D17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77262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B916F-318E-4940-99D2-6F2A912A4D17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39596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B916F-318E-4940-99D2-6F2A912A4D17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22192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B916F-318E-4940-99D2-6F2A912A4D17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47460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6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9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0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1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1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4" Type="http://schemas.openxmlformats.org/officeDocument/2006/relationships/image" Target="../media/image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1.pn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1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1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4" Type="http://schemas.openxmlformats.org/officeDocument/2006/relationships/image" Target="../media/image1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1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1.pn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1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1.pn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1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1.pn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1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1.pn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1.pn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1.png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1.pn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103.xml"/><Relationship Id="rId7" Type="http://schemas.openxmlformats.org/officeDocument/2006/relationships/image" Target="../media/image15.jpeg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10" Type="http://schemas.openxmlformats.org/officeDocument/2006/relationships/image" Target="../media/image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7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106.xml"/><Relationship Id="rId7" Type="http://schemas.openxmlformats.org/officeDocument/2006/relationships/image" Target="../media/image18.jpe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2.emf"/><Relationship Id="rId11" Type="http://schemas.openxmlformats.org/officeDocument/2006/relationships/image" Target="../media/image1.png"/><Relationship Id="rId5" Type="http://schemas.openxmlformats.org/officeDocument/2006/relationships/oleObject" Target="../embeddings/oleObject35.bin"/><Relationship Id="rId10" Type="http://schemas.openxmlformats.org/officeDocument/2006/relationships/image" Target="../media/image21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0.jpe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tags" Target="../tags/tag109.xml"/><Relationship Id="rId7" Type="http://schemas.openxmlformats.org/officeDocument/2006/relationships/image" Target="../media/image22.jpeg"/><Relationship Id="rId12" Type="http://schemas.openxmlformats.org/officeDocument/2006/relationships/image" Target="../media/image1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2.emf"/><Relationship Id="rId11" Type="http://schemas.openxmlformats.org/officeDocument/2006/relationships/image" Target="../media/image26.jpeg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2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4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2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28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120.xml"/><Relationship Id="rId7" Type="http://schemas.openxmlformats.org/officeDocument/2006/relationships/image" Target="../media/image29.jpeg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123.xml"/><Relationship Id="rId7" Type="http://schemas.openxmlformats.org/officeDocument/2006/relationships/image" Target="../media/image29.jpe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image" Target="../media/image1.pn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7" Type="http://schemas.openxmlformats.org/officeDocument/2006/relationships/image" Target="../media/image30.emf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4" Type="http://schemas.openxmlformats.org/officeDocument/2006/relationships/image" Target="../media/image1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4" Type="http://schemas.openxmlformats.org/officeDocument/2006/relationships/image" Target="../media/image1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4" Type="http://schemas.openxmlformats.org/officeDocument/2006/relationships/image" Target="../media/image1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image" Target="../media/image1.png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7" Type="http://schemas.openxmlformats.org/officeDocument/2006/relationships/image" Target="../media/image1.png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9550" cy="14716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30388" y="3887788"/>
            <a:ext cx="853757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3963" y="274638"/>
            <a:ext cx="2744787" cy="585311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8"/>
            <a:ext cx="8081963" cy="585311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2600" y="1630363"/>
            <a:ext cx="11160125" cy="2308324"/>
          </a:xfrm>
        </p:spPr>
        <p:txBody>
          <a:bodyPr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Subhead, Calibri, 2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2600" y="6597650"/>
            <a:ext cx="5508625" cy="153888"/>
          </a:xfrm>
        </p:spPr>
        <p:txBody>
          <a:bodyPr wrap="square" anchor="b">
            <a:spAutoFit/>
          </a:bodyPr>
          <a:lstStyle>
            <a:lvl1pPr>
              <a:defRPr sz="10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11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12" name="Gruppieren 11"/>
            <p:cNvGrpSpPr/>
            <p:nvPr userDrawn="1">
              <p:custDataLst>
                <p:tags r:id="rId2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14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15" name="Picture 20"/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18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10766425" y="6499225"/>
            <a:ext cx="914400" cy="914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74786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tle Pictur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2596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2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" name="Abgerundetes Rechteck 87"/>
          <p:cNvSpPr/>
          <p:nvPr userDrawn="1"/>
        </p:nvSpPr>
        <p:spPr>
          <a:xfrm>
            <a:off x="12649206" y="1625865"/>
            <a:ext cx="1865457" cy="1442613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Placeholder Eye-catcher </a:t>
            </a:r>
            <a:br>
              <a:rPr lang="en-US" sz="1100" b="1" dirty="0">
                <a:solidFill>
                  <a:srgbClr val="2D1E1C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for notes and third party logos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Placement can be varied  </a:t>
            </a:r>
            <a:br>
              <a:rPr lang="en-US" sz="1100" dirty="0">
                <a:solidFill>
                  <a:schemeClr val="bg1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in</a:t>
            </a:r>
            <a:r>
              <a:rPr lang="en-US" sz="11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heights.</a:t>
            </a:r>
            <a:br>
              <a:rPr lang="en-US" sz="1100" dirty="0">
                <a:solidFill>
                  <a:schemeClr val="bg1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If it is</a:t>
            </a:r>
            <a:r>
              <a:rPr lang="en-US" sz="11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100" b="1" baseline="0" dirty="0">
                <a:solidFill>
                  <a:schemeClr val="bg1"/>
                </a:solidFill>
                <a:latin typeface="+mn-lt"/>
              </a:rPr>
              <a:t>not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needed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, please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delete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 this element.</a:t>
            </a:r>
          </a:p>
        </p:txBody>
      </p:sp>
      <p:sp>
        <p:nvSpPr>
          <p:cNvPr id="49" name="Abgerundetes Rechteck 87"/>
          <p:cNvSpPr/>
          <p:nvPr userDrawn="1"/>
        </p:nvSpPr>
        <p:spPr>
          <a:xfrm>
            <a:off x="12649206" y="-1"/>
            <a:ext cx="1865457" cy="1498169"/>
          </a:xfrm>
          <a:prstGeom prst="roundRect">
            <a:avLst>
              <a:gd name="adj" fmla="val 0"/>
            </a:avLst>
          </a:prstGeom>
          <a:solidFill>
            <a:srgbClr val="EC66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0">
                <a:solidFill>
                  <a:schemeClr val="bg1"/>
                </a:solidFill>
                <a:latin typeface="+mn-lt"/>
              </a:rPr>
              <a:t>This presentation works with the preinstalled Office-font, Calibri. If you send it to someone Unrestrictedally or externally, please convert it into a pdf to ensure that the content stays as intended.</a:t>
            </a:r>
            <a:endParaRPr lang="en-US" sz="1100" b="1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44" name="Picture 3" descr="C:\Users\z000cq2y\Desktop\NewB\12 top Applivations\Title1.jpg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4"/>
          <a:stretch/>
        </p:blipFill>
        <p:spPr bwMode="auto">
          <a:xfrm>
            <a:off x="0" y="1588"/>
            <a:ext cx="12198349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82600" y="4275807"/>
            <a:ext cx="5651500" cy="553998"/>
          </a:xfrm>
        </p:spPr>
        <p:txBody>
          <a:bodyPr anchor="b">
            <a:spAutoFit/>
          </a:bodyPr>
          <a:lstStyle>
            <a:lvl1pPr algn="l">
              <a:spcBef>
                <a:spcPts val="0"/>
              </a:spcBef>
              <a:defRPr sz="3600" b="1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Intro title, Calibri Bold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82601" y="4830072"/>
            <a:ext cx="5651500" cy="1477328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4800" b="1" baseline="0">
                <a:solidFill>
                  <a:schemeClr val="tx2"/>
                </a:solidFill>
                <a:latin typeface="+mn-lt"/>
              </a:defRPr>
            </a:lvl1pPr>
            <a:lvl2pPr marL="544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2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1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       Title version 1,</a:t>
            </a:r>
            <a:br>
              <a:rPr lang="en-US" dirty="0"/>
            </a:br>
            <a:r>
              <a:rPr lang="en-US" dirty="0"/>
              <a:t>  Calibri Bold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3" name="Abgerundetes Rechteck 42"/>
          <p:cNvSpPr/>
          <p:nvPr userDrawn="1"/>
        </p:nvSpPr>
        <p:spPr>
          <a:xfrm>
            <a:off x="12651640" y="4597807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Image</a:t>
            </a:r>
            <a:r>
              <a:rPr lang="en-US" sz="1100" dirty="0">
                <a:solidFill>
                  <a:srgbClr val="2D1E1C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must be exchanged </a:t>
            </a:r>
            <a:br>
              <a:rPr lang="en-US" sz="1100" dirty="0">
                <a:solidFill>
                  <a:schemeClr val="bg1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on the slide master</a:t>
            </a:r>
          </a:p>
        </p:txBody>
      </p:sp>
      <p:sp>
        <p:nvSpPr>
          <p:cNvPr id="46" name="Abgerundetes Rechteck 45"/>
          <p:cNvSpPr/>
          <p:nvPr userDrawn="1"/>
        </p:nvSpPr>
        <p:spPr>
          <a:xfrm>
            <a:off x="12651640" y="6224588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Customize </a:t>
            </a:r>
            <a:r>
              <a:rPr lang="en-US" sz="1100" b="1" dirty="0">
                <a:solidFill>
                  <a:srgbClr val="2D1E1C"/>
                </a:solidFill>
                <a:latin typeface="+mn-lt"/>
              </a:rPr>
              <a:t>footer</a:t>
            </a:r>
            <a:r>
              <a:rPr lang="en-US" sz="1100" dirty="0">
                <a:solidFill>
                  <a:srgbClr val="2D1E1C"/>
                </a:solidFill>
                <a:latin typeface="+mn-lt"/>
              </a:rPr>
              <a:t> </a:t>
            </a:r>
            <a:br>
              <a:rPr lang="en-US" sz="1100" dirty="0">
                <a:solidFill>
                  <a:srgbClr val="2D1E1C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in</a:t>
            </a:r>
            <a:r>
              <a:rPr lang="en-US" sz="11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the master view</a:t>
            </a:r>
          </a:p>
        </p:txBody>
      </p:sp>
      <p:sp>
        <p:nvSpPr>
          <p:cNvPr id="48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0301466" y="1630363"/>
            <a:ext cx="1340949" cy="1340949"/>
          </a:xfrm>
          <a:prstGeom prst="ellipse">
            <a:avLst/>
          </a:prstGeom>
          <a:solidFill>
            <a:srgbClr val="EC6602"/>
          </a:solidFill>
        </p:spPr>
        <p:txBody>
          <a:bodyPr anchor="ctr"/>
          <a:lstStyle>
            <a:lvl1pPr algn="ctr"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Eye-catcher for notes and third party logos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47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9" name="Gruppieren 8"/>
            <p:cNvGrpSpPr/>
            <p:nvPr userDrawn="1"/>
          </p:nvGrpSpPr>
          <p:grpSpPr bwMode="gray">
            <a:xfrm>
              <a:off x="481775" y="337455"/>
              <a:ext cx="2815389" cy="662027"/>
              <a:chOff x="481775" y="337455"/>
              <a:chExt cx="2815389" cy="662027"/>
            </a:xfrm>
          </p:grpSpPr>
          <p:sp>
            <p:nvSpPr>
              <p:cNvPr id="56" name="Freihandform 55"/>
              <p:cNvSpPr>
                <a:spLocks noChangeArrowheads="1"/>
              </p:cNvSpPr>
              <p:nvPr/>
            </p:nvSpPr>
            <p:spPr bwMode="gray">
              <a:xfrm>
                <a:off x="2813076" y="444433"/>
                <a:ext cx="484088" cy="476290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57" name="Freihandform 56"/>
              <p:cNvSpPr>
                <a:spLocks noChangeArrowheads="1"/>
              </p:cNvSpPr>
              <p:nvPr/>
            </p:nvSpPr>
            <p:spPr bwMode="gray">
              <a:xfrm>
                <a:off x="1175199" y="337455"/>
                <a:ext cx="1597949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58" name="Freihandform 57"/>
              <p:cNvSpPr>
                <a:spLocks noChangeArrowheads="1"/>
              </p:cNvSpPr>
              <p:nvPr/>
            </p:nvSpPr>
            <p:spPr bwMode="gray">
              <a:xfrm>
                <a:off x="481775" y="682626"/>
                <a:ext cx="2292197" cy="316856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grpSp>
        <p:nvGrpSpPr>
          <p:cNvPr id="10" name="Gruppieren 9"/>
          <p:cNvGrpSpPr/>
          <p:nvPr userDrawn="1"/>
        </p:nvGrpSpPr>
        <p:grpSpPr>
          <a:xfrm>
            <a:off x="-381000" y="-377826"/>
            <a:ext cx="12915900" cy="7610481"/>
            <a:chOff x="-381000" y="-377826"/>
            <a:chExt cx="12915900" cy="7610481"/>
          </a:xfrm>
        </p:grpSpPr>
        <p:cxnSp>
          <p:nvCxnSpPr>
            <p:cNvPr id="60" name="Gerade Verbindung 59"/>
            <p:cNvCxnSpPr/>
            <p:nvPr userDrawn="1"/>
          </p:nvCxnSpPr>
          <p:spPr>
            <a:xfrm flipH="1">
              <a:off x="-381000" y="163036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flipH="1">
              <a:off x="-381000" y="630872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flipH="1">
              <a:off x="12315825" y="163036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flipH="1">
              <a:off x="12315825" y="630872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16200000" flipH="1">
              <a:off x="11533187" y="712311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16200000" flipH="1">
              <a:off x="9513887" y="712311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16200000" flipH="1">
              <a:off x="372160" y="712311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rot="16200000" flipH="1">
              <a:off x="7764463" y="712311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rot="16200000" flipH="1">
              <a:off x="7907339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rot="16200000" flipH="1">
              <a:off x="5878514" y="712311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16200000" flipH="1">
              <a:off x="6021390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16200000" flipH="1">
              <a:off x="3997326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16200000" flipH="1">
              <a:off x="4140202" y="712311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rot="16200000" flipH="1">
              <a:off x="11533188" y="-26828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rot="16200000" flipH="1">
              <a:off x="9513888" y="-26828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>
            <a:xfrm rot="16200000" flipH="1">
              <a:off x="372161" y="-2682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 rot="16200000" flipH="1">
              <a:off x="7764464" y="-26828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 rot="16200000" flipH="1">
              <a:off x="7907340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>
            <a:xfrm rot="16200000" flipH="1">
              <a:off x="5878515" y="-26828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 rot="16200000" flipH="1">
              <a:off x="6021391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>
            <a:xfrm rot="16200000" flipH="1">
              <a:off x="3997327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>
            <a:xfrm rot="16200000" flipH="1">
              <a:off x="4140203" y="-26828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>
            <a:xfrm flipH="1">
              <a:off x="-381000" y="389731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 flipH="1">
              <a:off x="-381000" y="40401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 flipH="1">
              <a:off x="12315825" y="342900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>
            <a:xfrm flipH="1">
              <a:off x="-381000" y="342900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cdtTextBox 11 Id18"/>
          <p:cNvSpPr txBox="1"/>
          <p:nvPr userDrawn="1">
            <p:custDataLst>
              <p:tags r:id="rId3"/>
            </p:custDataLst>
          </p:nvPr>
        </p:nvSpPr>
        <p:spPr>
          <a:xfrm>
            <a:off x="8020050" y="6597650"/>
            <a:ext cx="3620777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indent="0" algn="r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nrestricted © Siemens Healthcare GmbH, 2016</a:t>
            </a:r>
            <a:endParaRPr lang="en-US" sz="1000" kern="0" noProof="0" dirty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12651640" y="3196175"/>
            <a:ext cx="1865457" cy="1273934"/>
            <a:chOff x="12651640" y="3330074"/>
            <a:chExt cx="1865457" cy="1273934"/>
          </a:xfrm>
        </p:grpSpPr>
        <p:sp>
          <p:nvSpPr>
            <p:cNvPr id="50" name="Abgerundetes Rechteck 42"/>
            <p:cNvSpPr/>
            <p:nvPr userDrawn="1"/>
          </p:nvSpPr>
          <p:spPr>
            <a:xfrm>
              <a:off x="12651640" y="3330074"/>
              <a:ext cx="1865457" cy="1273934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r>
                <a:rPr lang="en-US" sz="1100" b="0" dirty="0">
                  <a:solidFill>
                    <a:schemeClr val="bg1"/>
                  </a:solidFill>
                  <a:latin typeface="+mn-lt"/>
                </a:rPr>
                <a:t>In addition to the magnetic grid, our templates also contain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layout guides.</a:t>
              </a:r>
            </a:p>
            <a:p>
              <a:br>
                <a:rPr lang="en-US" sz="1100" b="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b="0" dirty="0">
                  <a:solidFill>
                    <a:schemeClr val="bg1"/>
                  </a:solidFill>
                  <a:latin typeface="+mn-lt"/>
                </a:rPr>
                <a:t>Their purpose is to indicate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key margins and mandatory areas</a:t>
              </a:r>
              <a:r>
                <a:rPr lang="en-US" sz="1100" b="0" dirty="0">
                  <a:solidFill>
                    <a:schemeClr val="bg1"/>
                  </a:solidFill>
                  <a:latin typeface="+mn-lt"/>
                </a:rPr>
                <a:t> on slides. </a:t>
              </a:r>
            </a:p>
          </p:txBody>
        </p:sp>
        <p:cxnSp>
          <p:nvCxnSpPr>
            <p:cNvPr id="84" name="Gerade Verbindung 83"/>
            <p:cNvCxnSpPr/>
            <p:nvPr userDrawn="1"/>
          </p:nvCxnSpPr>
          <p:spPr>
            <a:xfrm flipH="1">
              <a:off x="12734923" y="3935412"/>
              <a:ext cx="1666435" cy="0"/>
            </a:xfrm>
            <a:prstGeom prst="line">
              <a:avLst/>
            </a:prstGeom>
            <a:ln>
              <a:solidFill>
                <a:schemeClr val="tx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>
            <a:xfrm flipH="1">
              <a:off x="12734923" y="4006849"/>
              <a:ext cx="1666435" cy="0"/>
            </a:xfrm>
            <a:prstGeom prst="line">
              <a:avLst/>
            </a:prstGeom>
            <a:ln>
              <a:solidFill>
                <a:schemeClr val="tx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platzhalter 44"/>
          <p:cNvSpPr>
            <a:spLocks noGrp="1"/>
          </p:cNvSpPr>
          <p:nvPr>
            <p:ph type="body" sz="quarter" idx="10" hasCustomPrompt="1"/>
          </p:nvPr>
        </p:nvSpPr>
        <p:spPr>
          <a:xfrm>
            <a:off x="5991225" y="257215"/>
            <a:ext cx="5651500" cy="615553"/>
          </a:xfrm>
        </p:spPr>
        <p:txBody>
          <a:bodyPr wrap="square" anchor="t">
            <a:spAutoFit/>
          </a:bodyPr>
          <a:lstStyle>
            <a:lvl1pPr marL="0" indent="0" algn="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er, Calibri 20 </a:t>
            </a:r>
            <a:r>
              <a:rPr lang="en-US" dirty="0" err="1"/>
              <a:t>pt</a:t>
            </a:r>
            <a:r>
              <a:rPr lang="en-US" dirty="0"/>
              <a:t>, Version 00,  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194541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tle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2345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2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Grafik 4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5098" y="1139936"/>
            <a:ext cx="5225574" cy="5730245"/>
          </a:xfrm>
          <a:prstGeom prst="rect">
            <a:avLst/>
          </a:prstGeom>
        </p:spPr>
      </p:pic>
      <p:sp>
        <p:nvSpPr>
          <p:cNvPr id="202" name="cdtTextBox 11 Id18"/>
          <p:cNvSpPr txBox="1"/>
          <p:nvPr userDrawn="1">
            <p:custDataLst>
              <p:tags r:id="rId3"/>
            </p:custDataLst>
          </p:nvPr>
        </p:nvSpPr>
        <p:spPr>
          <a:xfrm>
            <a:off x="8020050" y="6597650"/>
            <a:ext cx="3620777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indent="0" algn="r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noProof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Unrestricted © Siemens Healthcare GmbH, 2016</a:t>
            </a:r>
            <a:endParaRPr lang="en-US" sz="1000" kern="0" noProof="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ctrTitle" hasCustomPrompt="1"/>
          </p:nvPr>
        </p:nvSpPr>
        <p:spPr>
          <a:xfrm>
            <a:off x="482600" y="3332530"/>
            <a:ext cx="5651500" cy="553998"/>
          </a:xfrm>
        </p:spPr>
        <p:txBody>
          <a:bodyPr anchor="b">
            <a:spAutoFit/>
          </a:bodyPr>
          <a:lstStyle>
            <a:lvl1pPr algn="l">
              <a:spcBef>
                <a:spcPts val="0"/>
              </a:spcBef>
              <a:defRPr sz="3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  Intro title, Calibri Bold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82601" y="3887100"/>
            <a:ext cx="5651500" cy="1477328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4800" b="1">
                <a:solidFill>
                  <a:schemeClr val="bg1"/>
                </a:solidFill>
                <a:latin typeface="+mn-lt"/>
              </a:defRPr>
            </a:lvl1pPr>
            <a:lvl2pPr marL="544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2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1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Title version 2,</a:t>
            </a:r>
            <a:br>
              <a:rPr lang="en-US" dirty="0"/>
            </a:br>
            <a:r>
              <a:rPr lang="en-US" dirty="0"/>
              <a:t>        Calibri Bold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5" name="Textplatzhalter 4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0" y="5693172"/>
            <a:ext cx="5651500" cy="615553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, Calibri 20 </a:t>
            </a:r>
            <a:r>
              <a:rPr lang="en-US" dirty="0" err="1"/>
              <a:t>pt</a:t>
            </a:r>
            <a:r>
              <a:rPr lang="en-US" dirty="0"/>
              <a:t>, Version 00,  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198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0301466" y="3276897"/>
            <a:ext cx="1340949" cy="1340949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 sz="14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Eye-catcher for notes and third party logos</a:t>
            </a:r>
          </a:p>
        </p:txBody>
      </p:sp>
      <p:grpSp>
        <p:nvGrpSpPr>
          <p:cNvPr id="237" name="Gruppieren 236"/>
          <p:cNvGrpSpPr/>
          <p:nvPr userDrawn="1"/>
        </p:nvGrpSpPr>
        <p:grpSpPr>
          <a:xfrm>
            <a:off x="-381000" y="-377826"/>
            <a:ext cx="12915900" cy="7610481"/>
            <a:chOff x="-381000" y="-377826"/>
            <a:chExt cx="12915900" cy="7610481"/>
          </a:xfrm>
        </p:grpSpPr>
        <p:cxnSp>
          <p:nvCxnSpPr>
            <p:cNvPr id="238" name="Gerade Verbindung 237"/>
            <p:cNvCxnSpPr/>
            <p:nvPr userDrawn="1"/>
          </p:nvCxnSpPr>
          <p:spPr>
            <a:xfrm flipH="1">
              <a:off x="-381000" y="163036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Gerade Verbindung 238"/>
            <p:cNvCxnSpPr/>
            <p:nvPr userDrawn="1"/>
          </p:nvCxnSpPr>
          <p:spPr>
            <a:xfrm flipH="1">
              <a:off x="-381000" y="630872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Gerade Verbindung 239"/>
            <p:cNvCxnSpPr/>
            <p:nvPr userDrawn="1"/>
          </p:nvCxnSpPr>
          <p:spPr>
            <a:xfrm flipH="1">
              <a:off x="12315825" y="163036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Gerade Verbindung 240"/>
            <p:cNvCxnSpPr/>
            <p:nvPr userDrawn="1"/>
          </p:nvCxnSpPr>
          <p:spPr>
            <a:xfrm flipH="1">
              <a:off x="12315825" y="630872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Gerade Verbindung 241"/>
            <p:cNvCxnSpPr/>
            <p:nvPr userDrawn="1"/>
          </p:nvCxnSpPr>
          <p:spPr>
            <a:xfrm rot="16200000" flipH="1">
              <a:off x="11533187" y="712311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Gerade Verbindung 242"/>
            <p:cNvCxnSpPr/>
            <p:nvPr userDrawn="1"/>
          </p:nvCxnSpPr>
          <p:spPr>
            <a:xfrm rot="16200000" flipH="1">
              <a:off x="9513887" y="712311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Gerade Verbindung 243"/>
            <p:cNvCxnSpPr/>
            <p:nvPr userDrawn="1"/>
          </p:nvCxnSpPr>
          <p:spPr>
            <a:xfrm rot="16200000" flipH="1">
              <a:off x="372160" y="712311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Gerade Verbindung 244"/>
            <p:cNvCxnSpPr/>
            <p:nvPr userDrawn="1"/>
          </p:nvCxnSpPr>
          <p:spPr>
            <a:xfrm rot="16200000" flipH="1">
              <a:off x="7764463" y="712311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Gerade Verbindung 245"/>
            <p:cNvCxnSpPr/>
            <p:nvPr userDrawn="1"/>
          </p:nvCxnSpPr>
          <p:spPr>
            <a:xfrm rot="16200000" flipH="1">
              <a:off x="7907339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Gerade Verbindung 246"/>
            <p:cNvCxnSpPr/>
            <p:nvPr userDrawn="1"/>
          </p:nvCxnSpPr>
          <p:spPr>
            <a:xfrm rot="16200000" flipH="1">
              <a:off x="5878514" y="712311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Gerade Verbindung 247"/>
            <p:cNvCxnSpPr/>
            <p:nvPr userDrawn="1"/>
          </p:nvCxnSpPr>
          <p:spPr>
            <a:xfrm rot="16200000" flipH="1">
              <a:off x="6021390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Gerade Verbindung 248"/>
            <p:cNvCxnSpPr/>
            <p:nvPr userDrawn="1"/>
          </p:nvCxnSpPr>
          <p:spPr>
            <a:xfrm rot="16200000" flipH="1">
              <a:off x="3997326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Gerade Verbindung 249"/>
            <p:cNvCxnSpPr/>
            <p:nvPr userDrawn="1"/>
          </p:nvCxnSpPr>
          <p:spPr>
            <a:xfrm rot="16200000" flipH="1">
              <a:off x="4140202" y="712311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Gerade Verbindung 250"/>
            <p:cNvCxnSpPr/>
            <p:nvPr userDrawn="1"/>
          </p:nvCxnSpPr>
          <p:spPr>
            <a:xfrm rot="16200000" flipH="1">
              <a:off x="11533188" y="-26828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Gerade Verbindung 251"/>
            <p:cNvCxnSpPr/>
            <p:nvPr userDrawn="1"/>
          </p:nvCxnSpPr>
          <p:spPr>
            <a:xfrm rot="16200000" flipH="1">
              <a:off x="9513888" y="-26828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Gerade Verbindung 252"/>
            <p:cNvCxnSpPr/>
            <p:nvPr userDrawn="1"/>
          </p:nvCxnSpPr>
          <p:spPr>
            <a:xfrm rot="16200000" flipH="1">
              <a:off x="372161" y="-2682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Gerade Verbindung 253"/>
            <p:cNvCxnSpPr/>
            <p:nvPr userDrawn="1"/>
          </p:nvCxnSpPr>
          <p:spPr>
            <a:xfrm rot="16200000" flipH="1">
              <a:off x="7764464" y="-26828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Gerade Verbindung 254"/>
            <p:cNvCxnSpPr/>
            <p:nvPr userDrawn="1"/>
          </p:nvCxnSpPr>
          <p:spPr>
            <a:xfrm rot="16200000" flipH="1">
              <a:off x="7907340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Gerade Verbindung 255"/>
            <p:cNvCxnSpPr/>
            <p:nvPr userDrawn="1"/>
          </p:nvCxnSpPr>
          <p:spPr>
            <a:xfrm rot="16200000" flipH="1">
              <a:off x="5878515" y="-26828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Gerade Verbindung 256"/>
            <p:cNvCxnSpPr/>
            <p:nvPr userDrawn="1"/>
          </p:nvCxnSpPr>
          <p:spPr>
            <a:xfrm rot="16200000" flipH="1">
              <a:off x="6021391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Gerade Verbindung 257"/>
            <p:cNvCxnSpPr/>
            <p:nvPr userDrawn="1"/>
          </p:nvCxnSpPr>
          <p:spPr>
            <a:xfrm rot="16200000" flipH="1">
              <a:off x="3997327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Gerade Verbindung 258"/>
            <p:cNvCxnSpPr/>
            <p:nvPr userDrawn="1"/>
          </p:nvCxnSpPr>
          <p:spPr>
            <a:xfrm rot="16200000" flipH="1">
              <a:off x="4140203" y="-26828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259"/>
            <p:cNvCxnSpPr/>
            <p:nvPr userDrawn="1"/>
          </p:nvCxnSpPr>
          <p:spPr>
            <a:xfrm flipH="1">
              <a:off x="-381000" y="389731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260"/>
            <p:cNvCxnSpPr/>
            <p:nvPr userDrawn="1"/>
          </p:nvCxnSpPr>
          <p:spPr>
            <a:xfrm flipH="1">
              <a:off x="-381000" y="40401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Gerade Verbindung 261"/>
            <p:cNvCxnSpPr/>
            <p:nvPr userDrawn="1"/>
          </p:nvCxnSpPr>
          <p:spPr>
            <a:xfrm flipH="1">
              <a:off x="12315825" y="389731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Gerade Verbindung 262"/>
            <p:cNvCxnSpPr/>
            <p:nvPr userDrawn="1"/>
          </p:nvCxnSpPr>
          <p:spPr>
            <a:xfrm flipH="1">
              <a:off x="12315825" y="40401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Gerade Verbindung 263"/>
            <p:cNvCxnSpPr/>
            <p:nvPr userDrawn="1"/>
          </p:nvCxnSpPr>
          <p:spPr>
            <a:xfrm flipH="1">
              <a:off x="12315825" y="342900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Gerade Verbindung 264"/>
            <p:cNvCxnSpPr/>
            <p:nvPr userDrawn="1"/>
          </p:nvCxnSpPr>
          <p:spPr>
            <a:xfrm flipH="1">
              <a:off x="-381000" y="342900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pieren 5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196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53" name="Gruppieren 52"/>
            <p:cNvGrpSpPr/>
            <p:nvPr userDrawn="1"/>
          </p:nvGrpSpPr>
          <p:grpSpPr bwMode="gray">
            <a:xfrm>
              <a:off x="481775" y="337455"/>
              <a:ext cx="2815389" cy="662027"/>
              <a:chOff x="481775" y="337455"/>
              <a:chExt cx="2815389" cy="662027"/>
            </a:xfrm>
          </p:grpSpPr>
          <p:sp>
            <p:nvSpPr>
              <p:cNvPr id="54" name="Freihandform 53"/>
              <p:cNvSpPr>
                <a:spLocks noChangeArrowheads="1"/>
              </p:cNvSpPr>
              <p:nvPr/>
            </p:nvSpPr>
            <p:spPr bwMode="gray">
              <a:xfrm>
                <a:off x="2813076" y="444433"/>
                <a:ext cx="484088" cy="476290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55" name="Freihandform 54"/>
              <p:cNvSpPr>
                <a:spLocks noChangeArrowheads="1"/>
              </p:cNvSpPr>
              <p:nvPr/>
            </p:nvSpPr>
            <p:spPr bwMode="gray">
              <a:xfrm>
                <a:off x="1175199" y="337455"/>
                <a:ext cx="1597949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56" name="Freihandform 55"/>
              <p:cNvSpPr>
                <a:spLocks noChangeArrowheads="1"/>
              </p:cNvSpPr>
              <p:nvPr/>
            </p:nvSpPr>
            <p:spPr bwMode="gray">
              <a:xfrm>
                <a:off x="481775" y="682626"/>
                <a:ext cx="2292197" cy="316856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48" name="Abgerundetes Rechteck 87"/>
          <p:cNvSpPr/>
          <p:nvPr userDrawn="1"/>
        </p:nvSpPr>
        <p:spPr>
          <a:xfrm>
            <a:off x="12649206" y="3276897"/>
            <a:ext cx="1865457" cy="1442613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Placeholder Eye-catcher </a:t>
            </a:r>
            <a:br>
              <a:rPr lang="en-US" sz="1100" b="1" dirty="0">
                <a:solidFill>
                  <a:srgbClr val="2D1E1C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for notes and third party logos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Placement can be varied  </a:t>
            </a:r>
            <a:br>
              <a:rPr lang="en-US" sz="1100" dirty="0">
                <a:solidFill>
                  <a:schemeClr val="bg1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in</a:t>
            </a:r>
            <a:r>
              <a:rPr lang="en-US" sz="11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heights.</a:t>
            </a:r>
            <a:br>
              <a:rPr lang="en-US" sz="1100" dirty="0">
                <a:solidFill>
                  <a:schemeClr val="bg1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If it is</a:t>
            </a:r>
            <a:r>
              <a:rPr lang="en-US" sz="11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100" b="1" baseline="0" dirty="0">
                <a:solidFill>
                  <a:schemeClr val="bg1"/>
                </a:solidFill>
                <a:latin typeface="+mn-lt"/>
              </a:rPr>
              <a:t>not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needed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, please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delete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 this element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99240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tle Orange, Berr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57723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Grafik 4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5098" y="1139936"/>
            <a:ext cx="5225574" cy="5730245"/>
          </a:xfrm>
          <a:prstGeom prst="rect">
            <a:avLst/>
          </a:prstGeom>
        </p:spPr>
      </p:pic>
      <p:sp>
        <p:nvSpPr>
          <p:cNvPr id="202" name="cdtTextBox 11 Id18"/>
          <p:cNvSpPr txBox="1"/>
          <p:nvPr userDrawn="1">
            <p:custDataLst>
              <p:tags r:id="rId3"/>
            </p:custDataLst>
          </p:nvPr>
        </p:nvSpPr>
        <p:spPr>
          <a:xfrm>
            <a:off x="8020050" y="6597650"/>
            <a:ext cx="3620777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indent="0" algn="r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noProof="0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Restrcited</a:t>
            </a:r>
            <a:r>
              <a:rPr lang="en-US" sz="1000" kern="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000" kern="0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  <a:r>
              <a:rPr lang="en-US" sz="1000" kern="0" baseline="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000" kern="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Siemens</a:t>
            </a:r>
            <a:r>
              <a:rPr lang="en-US" sz="1000" kern="0" baseline="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000" kern="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ealthcare</a:t>
            </a:r>
            <a:r>
              <a:rPr lang="en-US" sz="1000" kern="0" baseline="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000" kern="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GmbH,</a:t>
            </a:r>
            <a:r>
              <a:rPr lang="en-US" sz="1000" kern="0" baseline="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000" kern="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2016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ctrTitle" hasCustomPrompt="1"/>
          </p:nvPr>
        </p:nvSpPr>
        <p:spPr>
          <a:xfrm>
            <a:off x="482600" y="3332530"/>
            <a:ext cx="5651500" cy="553998"/>
          </a:xfrm>
        </p:spPr>
        <p:txBody>
          <a:bodyPr anchor="b">
            <a:spAutoFit/>
          </a:bodyPr>
          <a:lstStyle>
            <a:lvl1pPr algn="l">
              <a:spcBef>
                <a:spcPts val="0"/>
              </a:spcBef>
              <a:defRPr sz="3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  Intro title, Calibri Bold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82601" y="3887100"/>
            <a:ext cx="5651500" cy="1477328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4800" b="1">
                <a:solidFill>
                  <a:schemeClr val="bg1"/>
                </a:solidFill>
                <a:latin typeface="+mn-lt"/>
              </a:defRPr>
            </a:lvl1pPr>
            <a:lvl2pPr marL="544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2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1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Title version 2,</a:t>
            </a:r>
            <a:br>
              <a:rPr lang="en-US" dirty="0"/>
            </a:br>
            <a:r>
              <a:rPr lang="en-US" dirty="0"/>
              <a:t>        Calibri Bold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5" name="Textplatzhalter 4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0" y="5693172"/>
            <a:ext cx="5651500" cy="615553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, Calibri 20 </a:t>
            </a:r>
            <a:r>
              <a:rPr lang="en-US" dirty="0" err="1"/>
              <a:t>pt</a:t>
            </a:r>
            <a:r>
              <a:rPr lang="en-US" dirty="0"/>
              <a:t>, Version 00,  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198" name="Textplatzhalter 1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0301466" y="3276897"/>
            <a:ext cx="1340949" cy="1340949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 sz="14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Eye-catcher for notes and third party logos</a:t>
            </a:r>
          </a:p>
        </p:txBody>
      </p:sp>
      <p:grpSp>
        <p:nvGrpSpPr>
          <p:cNvPr id="237" name="Gruppieren 236"/>
          <p:cNvGrpSpPr/>
          <p:nvPr userDrawn="1"/>
        </p:nvGrpSpPr>
        <p:grpSpPr>
          <a:xfrm>
            <a:off x="-381000" y="-377826"/>
            <a:ext cx="12915900" cy="7610481"/>
            <a:chOff x="-381000" y="-377826"/>
            <a:chExt cx="12915900" cy="7610481"/>
          </a:xfrm>
        </p:grpSpPr>
        <p:cxnSp>
          <p:nvCxnSpPr>
            <p:cNvPr id="238" name="Gerade Verbindung 237"/>
            <p:cNvCxnSpPr/>
            <p:nvPr userDrawn="1"/>
          </p:nvCxnSpPr>
          <p:spPr>
            <a:xfrm flipH="1">
              <a:off x="-381000" y="163036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Gerade Verbindung 238"/>
            <p:cNvCxnSpPr/>
            <p:nvPr userDrawn="1"/>
          </p:nvCxnSpPr>
          <p:spPr>
            <a:xfrm flipH="1">
              <a:off x="-381000" y="630872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Gerade Verbindung 239"/>
            <p:cNvCxnSpPr/>
            <p:nvPr userDrawn="1"/>
          </p:nvCxnSpPr>
          <p:spPr>
            <a:xfrm flipH="1">
              <a:off x="12315825" y="163036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Gerade Verbindung 240"/>
            <p:cNvCxnSpPr/>
            <p:nvPr userDrawn="1"/>
          </p:nvCxnSpPr>
          <p:spPr>
            <a:xfrm flipH="1">
              <a:off x="12315825" y="630872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Gerade Verbindung 241"/>
            <p:cNvCxnSpPr/>
            <p:nvPr userDrawn="1"/>
          </p:nvCxnSpPr>
          <p:spPr>
            <a:xfrm rot="16200000" flipH="1">
              <a:off x="11533187" y="712311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Gerade Verbindung 242"/>
            <p:cNvCxnSpPr/>
            <p:nvPr userDrawn="1"/>
          </p:nvCxnSpPr>
          <p:spPr>
            <a:xfrm rot="16200000" flipH="1">
              <a:off x="9513887" y="712311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Gerade Verbindung 243"/>
            <p:cNvCxnSpPr/>
            <p:nvPr userDrawn="1"/>
          </p:nvCxnSpPr>
          <p:spPr>
            <a:xfrm rot="16200000" flipH="1">
              <a:off x="372160" y="712311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Gerade Verbindung 244"/>
            <p:cNvCxnSpPr/>
            <p:nvPr userDrawn="1"/>
          </p:nvCxnSpPr>
          <p:spPr>
            <a:xfrm rot="16200000" flipH="1">
              <a:off x="7764463" y="712311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Gerade Verbindung 245"/>
            <p:cNvCxnSpPr/>
            <p:nvPr userDrawn="1"/>
          </p:nvCxnSpPr>
          <p:spPr>
            <a:xfrm rot="16200000" flipH="1">
              <a:off x="7907339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Gerade Verbindung 246"/>
            <p:cNvCxnSpPr/>
            <p:nvPr userDrawn="1"/>
          </p:nvCxnSpPr>
          <p:spPr>
            <a:xfrm rot="16200000" flipH="1">
              <a:off x="5878514" y="712311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Gerade Verbindung 247"/>
            <p:cNvCxnSpPr/>
            <p:nvPr userDrawn="1"/>
          </p:nvCxnSpPr>
          <p:spPr>
            <a:xfrm rot="16200000" flipH="1">
              <a:off x="6021390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Gerade Verbindung 248"/>
            <p:cNvCxnSpPr/>
            <p:nvPr userDrawn="1"/>
          </p:nvCxnSpPr>
          <p:spPr>
            <a:xfrm rot="16200000" flipH="1">
              <a:off x="3997326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Gerade Verbindung 249"/>
            <p:cNvCxnSpPr/>
            <p:nvPr userDrawn="1"/>
          </p:nvCxnSpPr>
          <p:spPr>
            <a:xfrm rot="16200000" flipH="1">
              <a:off x="4140202" y="712311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Gerade Verbindung 250"/>
            <p:cNvCxnSpPr/>
            <p:nvPr userDrawn="1"/>
          </p:nvCxnSpPr>
          <p:spPr>
            <a:xfrm rot="16200000" flipH="1">
              <a:off x="11533188" y="-26828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Gerade Verbindung 251"/>
            <p:cNvCxnSpPr/>
            <p:nvPr userDrawn="1"/>
          </p:nvCxnSpPr>
          <p:spPr>
            <a:xfrm rot="16200000" flipH="1">
              <a:off x="9513888" y="-26828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Gerade Verbindung 252"/>
            <p:cNvCxnSpPr/>
            <p:nvPr userDrawn="1"/>
          </p:nvCxnSpPr>
          <p:spPr>
            <a:xfrm rot="16200000" flipH="1">
              <a:off x="372161" y="-2682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Gerade Verbindung 253"/>
            <p:cNvCxnSpPr/>
            <p:nvPr userDrawn="1"/>
          </p:nvCxnSpPr>
          <p:spPr>
            <a:xfrm rot="16200000" flipH="1">
              <a:off x="7764464" y="-26828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Gerade Verbindung 254"/>
            <p:cNvCxnSpPr/>
            <p:nvPr userDrawn="1"/>
          </p:nvCxnSpPr>
          <p:spPr>
            <a:xfrm rot="16200000" flipH="1">
              <a:off x="7907340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Gerade Verbindung 255"/>
            <p:cNvCxnSpPr/>
            <p:nvPr userDrawn="1"/>
          </p:nvCxnSpPr>
          <p:spPr>
            <a:xfrm rot="16200000" flipH="1">
              <a:off x="5878515" y="-26828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Gerade Verbindung 256"/>
            <p:cNvCxnSpPr/>
            <p:nvPr userDrawn="1"/>
          </p:nvCxnSpPr>
          <p:spPr>
            <a:xfrm rot="16200000" flipH="1">
              <a:off x="6021391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Gerade Verbindung 257"/>
            <p:cNvCxnSpPr/>
            <p:nvPr userDrawn="1"/>
          </p:nvCxnSpPr>
          <p:spPr>
            <a:xfrm rot="16200000" flipH="1">
              <a:off x="3997327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Gerade Verbindung 258"/>
            <p:cNvCxnSpPr/>
            <p:nvPr userDrawn="1"/>
          </p:nvCxnSpPr>
          <p:spPr>
            <a:xfrm rot="16200000" flipH="1">
              <a:off x="4140203" y="-26828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259"/>
            <p:cNvCxnSpPr/>
            <p:nvPr userDrawn="1"/>
          </p:nvCxnSpPr>
          <p:spPr>
            <a:xfrm flipH="1">
              <a:off x="-381000" y="389731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260"/>
            <p:cNvCxnSpPr/>
            <p:nvPr userDrawn="1"/>
          </p:nvCxnSpPr>
          <p:spPr>
            <a:xfrm flipH="1">
              <a:off x="-381000" y="40401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Gerade Verbindung 261"/>
            <p:cNvCxnSpPr/>
            <p:nvPr userDrawn="1"/>
          </p:nvCxnSpPr>
          <p:spPr>
            <a:xfrm flipH="1">
              <a:off x="12315825" y="389731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Gerade Verbindung 262"/>
            <p:cNvCxnSpPr/>
            <p:nvPr userDrawn="1"/>
          </p:nvCxnSpPr>
          <p:spPr>
            <a:xfrm flipH="1">
              <a:off x="12315825" y="40401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Gerade Verbindung 263"/>
            <p:cNvCxnSpPr/>
            <p:nvPr userDrawn="1"/>
          </p:nvCxnSpPr>
          <p:spPr>
            <a:xfrm flipH="1">
              <a:off x="12315825" y="342900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Gerade Verbindung 264"/>
            <p:cNvCxnSpPr/>
            <p:nvPr userDrawn="1"/>
          </p:nvCxnSpPr>
          <p:spPr>
            <a:xfrm flipH="1">
              <a:off x="-381000" y="342900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pieren 5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196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53" name="Gruppieren 52"/>
            <p:cNvGrpSpPr/>
            <p:nvPr userDrawn="1"/>
          </p:nvGrpSpPr>
          <p:grpSpPr bwMode="gray">
            <a:xfrm>
              <a:off x="481775" y="337455"/>
              <a:ext cx="2815389" cy="662027"/>
              <a:chOff x="481775" y="337455"/>
              <a:chExt cx="2815389" cy="662027"/>
            </a:xfrm>
          </p:grpSpPr>
          <p:sp>
            <p:nvSpPr>
              <p:cNvPr id="54" name="Freihandform 53"/>
              <p:cNvSpPr>
                <a:spLocks noChangeArrowheads="1"/>
              </p:cNvSpPr>
              <p:nvPr/>
            </p:nvSpPr>
            <p:spPr bwMode="gray">
              <a:xfrm>
                <a:off x="2813076" y="444433"/>
                <a:ext cx="484088" cy="476290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55" name="Freihandform 54"/>
              <p:cNvSpPr>
                <a:spLocks noChangeArrowheads="1"/>
              </p:cNvSpPr>
              <p:nvPr/>
            </p:nvSpPr>
            <p:spPr bwMode="gray">
              <a:xfrm>
                <a:off x="1175199" y="337455"/>
                <a:ext cx="1597949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56" name="Freihandform 55"/>
              <p:cNvSpPr>
                <a:spLocks noChangeArrowheads="1"/>
              </p:cNvSpPr>
              <p:nvPr/>
            </p:nvSpPr>
            <p:spPr bwMode="gray">
              <a:xfrm>
                <a:off x="481775" y="682626"/>
                <a:ext cx="2292197" cy="316856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48" name="Abgerundetes Rechteck 87"/>
          <p:cNvSpPr/>
          <p:nvPr userDrawn="1"/>
        </p:nvSpPr>
        <p:spPr>
          <a:xfrm>
            <a:off x="12649206" y="3276897"/>
            <a:ext cx="1865457" cy="1442613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Placeholder Eye-catcher </a:t>
            </a:r>
            <a:br>
              <a:rPr lang="en-US" sz="1100" b="1" dirty="0">
                <a:solidFill>
                  <a:srgbClr val="2D1E1C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for notes and third party logos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Placement can be varied  </a:t>
            </a:r>
            <a:br>
              <a:rPr lang="en-US" sz="1100" dirty="0">
                <a:solidFill>
                  <a:schemeClr val="bg1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in</a:t>
            </a:r>
            <a:r>
              <a:rPr lang="en-US" sz="11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heights.</a:t>
            </a:r>
            <a:br>
              <a:rPr lang="en-US" sz="1100" dirty="0">
                <a:solidFill>
                  <a:schemeClr val="bg1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If it is</a:t>
            </a:r>
            <a:r>
              <a:rPr lang="en-US" sz="11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100" b="1" baseline="0" dirty="0">
                <a:solidFill>
                  <a:schemeClr val="bg1"/>
                </a:solidFill>
                <a:latin typeface="+mn-lt"/>
              </a:rPr>
              <a:t>not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needed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, please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delete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 this element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69641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tle Orange, Petro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28840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Grafik 4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5098" y="1139936"/>
            <a:ext cx="5225574" cy="5730245"/>
          </a:xfrm>
          <a:prstGeom prst="rect">
            <a:avLst/>
          </a:prstGeom>
        </p:spPr>
      </p:pic>
      <p:sp>
        <p:nvSpPr>
          <p:cNvPr id="202" name="cdtTextBox 11 Id18"/>
          <p:cNvSpPr txBox="1"/>
          <p:nvPr userDrawn="1">
            <p:custDataLst>
              <p:tags r:id="rId3"/>
            </p:custDataLst>
          </p:nvPr>
        </p:nvSpPr>
        <p:spPr>
          <a:xfrm>
            <a:off x="8020050" y="6597650"/>
            <a:ext cx="3620777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indent="0" algn="r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noProof="0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Restrcited</a:t>
            </a:r>
            <a:r>
              <a:rPr lang="en-US" sz="1000" kern="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000" kern="0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  <a:r>
              <a:rPr lang="en-US" sz="1000" kern="0" baseline="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000" kern="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Siemens</a:t>
            </a:r>
            <a:r>
              <a:rPr lang="en-US" sz="1000" kern="0" baseline="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000" kern="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ealthcare</a:t>
            </a:r>
            <a:r>
              <a:rPr lang="en-US" sz="1000" kern="0" baseline="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000" kern="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GmbH,</a:t>
            </a:r>
            <a:r>
              <a:rPr lang="en-US" sz="1000" kern="0" baseline="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000" kern="0" noProof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2016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ctrTitle" hasCustomPrompt="1"/>
          </p:nvPr>
        </p:nvSpPr>
        <p:spPr>
          <a:xfrm>
            <a:off x="482600" y="3332530"/>
            <a:ext cx="5651500" cy="553998"/>
          </a:xfrm>
        </p:spPr>
        <p:txBody>
          <a:bodyPr anchor="b">
            <a:spAutoFit/>
          </a:bodyPr>
          <a:lstStyle>
            <a:lvl1pPr algn="l">
              <a:spcBef>
                <a:spcPts val="0"/>
              </a:spcBef>
              <a:defRPr sz="3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  Intro title, Calibri Bold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82601" y="3887100"/>
            <a:ext cx="5651500" cy="1477328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4800" b="1">
                <a:solidFill>
                  <a:schemeClr val="bg1"/>
                </a:solidFill>
                <a:latin typeface="+mn-lt"/>
              </a:defRPr>
            </a:lvl1pPr>
            <a:lvl2pPr marL="544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2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1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Title version 2,</a:t>
            </a:r>
            <a:br>
              <a:rPr lang="en-US" dirty="0"/>
            </a:br>
            <a:r>
              <a:rPr lang="en-US" dirty="0"/>
              <a:t>        Calibri Bold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5" name="Textplatzhalter 4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0" y="5693172"/>
            <a:ext cx="5651500" cy="615553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, Calibri 20 </a:t>
            </a:r>
            <a:r>
              <a:rPr lang="en-US" dirty="0" err="1"/>
              <a:t>pt</a:t>
            </a:r>
            <a:r>
              <a:rPr lang="en-US" dirty="0"/>
              <a:t>, Version 00,  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198" name="Textplatzhalter 1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0301466" y="3276897"/>
            <a:ext cx="1340949" cy="1340949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 sz="14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Eye-catcher for notes and third party logos</a:t>
            </a:r>
          </a:p>
        </p:txBody>
      </p:sp>
      <p:grpSp>
        <p:nvGrpSpPr>
          <p:cNvPr id="237" name="Gruppieren 236"/>
          <p:cNvGrpSpPr/>
          <p:nvPr userDrawn="1"/>
        </p:nvGrpSpPr>
        <p:grpSpPr>
          <a:xfrm>
            <a:off x="-381000" y="-377826"/>
            <a:ext cx="12915900" cy="7610481"/>
            <a:chOff x="-381000" y="-377826"/>
            <a:chExt cx="12915900" cy="7610481"/>
          </a:xfrm>
        </p:grpSpPr>
        <p:cxnSp>
          <p:nvCxnSpPr>
            <p:cNvPr id="238" name="Gerade Verbindung 237"/>
            <p:cNvCxnSpPr/>
            <p:nvPr userDrawn="1"/>
          </p:nvCxnSpPr>
          <p:spPr>
            <a:xfrm flipH="1">
              <a:off x="-381000" y="163036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Gerade Verbindung 238"/>
            <p:cNvCxnSpPr/>
            <p:nvPr userDrawn="1"/>
          </p:nvCxnSpPr>
          <p:spPr>
            <a:xfrm flipH="1">
              <a:off x="-381000" y="630872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Gerade Verbindung 239"/>
            <p:cNvCxnSpPr/>
            <p:nvPr userDrawn="1"/>
          </p:nvCxnSpPr>
          <p:spPr>
            <a:xfrm flipH="1">
              <a:off x="12315825" y="163036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Gerade Verbindung 240"/>
            <p:cNvCxnSpPr/>
            <p:nvPr userDrawn="1"/>
          </p:nvCxnSpPr>
          <p:spPr>
            <a:xfrm flipH="1">
              <a:off x="12315825" y="630872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Gerade Verbindung 241"/>
            <p:cNvCxnSpPr/>
            <p:nvPr userDrawn="1"/>
          </p:nvCxnSpPr>
          <p:spPr>
            <a:xfrm rot="16200000" flipH="1">
              <a:off x="11533187" y="712311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Gerade Verbindung 242"/>
            <p:cNvCxnSpPr/>
            <p:nvPr userDrawn="1"/>
          </p:nvCxnSpPr>
          <p:spPr>
            <a:xfrm rot="16200000" flipH="1">
              <a:off x="9513887" y="712311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Gerade Verbindung 243"/>
            <p:cNvCxnSpPr/>
            <p:nvPr userDrawn="1"/>
          </p:nvCxnSpPr>
          <p:spPr>
            <a:xfrm rot="16200000" flipH="1">
              <a:off x="372160" y="712311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Gerade Verbindung 244"/>
            <p:cNvCxnSpPr/>
            <p:nvPr userDrawn="1"/>
          </p:nvCxnSpPr>
          <p:spPr>
            <a:xfrm rot="16200000" flipH="1">
              <a:off x="7764463" y="712311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Gerade Verbindung 245"/>
            <p:cNvCxnSpPr/>
            <p:nvPr userDrawn="1"/>
          </p:nvCxnSpPr>
          <p:spPr>
            <a:xfrm rot="16200000" flipH="1">
              <a:off x="7907339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Gerade Verbindung 246"/>
            <p:cNvCxnSpPr/>
            <p:nvPr userDrawn="1"/>
          </p:nvCxnSpPr>
          <p:spPr>
            <a:xfrm rot="16200000" flipH="1">
              <a:off x="5878514" y="712311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Gerade Verbindung 247"/>
            <p:cNvCxnSpPr/>
            <p:nvPr userDrawn="1"/>
          </p:nvCxnSpPr>
          <p:spPr>
            <a:xfrm rot="16200000" flipH="1">
              <a:off x="6021390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Gerade Verbindung 248"/>
            <p:cNvCxnSpPr/>
            <p:nvPr userDrawn="1"/>
          </p:nvCxnSpPr>
          <p:spPr>
            <a:xfrm rot="16200000" flipH="1">
              <a:off x="3997326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Gerade Verbindung 249"/>
            <p:cNvCxnSpPr/>
            <p:nvPr userDrawn="1"/>
          </p:nvCxnSpPr>
          <p:spPr>
            <a:xfrm rot="16200000" flipH="1">
              <a:off x="4140202" y="712311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Gerade Verbindung 250"/>
            <p:cNvCxnSpPr/>
            <p:nvPr userDrawn="1"/>
          </p:nvCxnSpPr>
          <p:spPr>
            <a:xfrm rot="16200000" flipH="1">
              <a:off x="11533188" y="-26828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Gerade Verbindung 251"/>
            <p:cNvCxnSpPr/>
            <p:nvPr userDrawn="1"/>
          </p:nvCxnSpPr>
          <p:spPr>
            <a:xfrm rot="16200000" flipH="1">
              <a:off x="9513888" y="-26828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Gerade Verbindung 252"/>
            <p:cNvCxnSpPr/>
            <p:nvPr userDrawn="1"/>
          </p:nvCxnSpPr>
          <p:spPr>
            <a:xfrm rot="16200000" flipH="1">
              <a:off x="372161" y="-2682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Gerade Verbindung 253"/>
            <p:cNvCxnSpPr/>
            <p:nvPr userDrawn="1"/>
          </p:nvCxnSpPr>
          <p:spPr>
            <a:xfrm rot="16200000" flipH="1">
              <a:off x="7764464" y="-26828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Gerade Verbindung 254"/>
            <p:cNvCxnSpPr/>
            <p:nvPr userDrawn="1"/>
          </p:nvCxnSpPr>
          <p:spPr>
            <a:xfrm rot="16200000" flipH="1">
              <a:off x="7907340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Gerade Verbindung 255"/>
            <p:cNvCxnSpPr/>
            <p:nvPr userDrawn="1"/>
          </p:nvCxnSpPr>
          <p:spPr>
            <a:xfrm rot="16200000" flipH="1">
              <a:off x="5878515" y="-26828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Gerade Verbindung 256"/>
            <p:cNvCxnSpPr/>
            <p:nvPr userDrawn="1"/>
          </p:nvCxnSpPr>
          <p:spPr>
            <a:xfrm rot="16200000" flipH="1">
              <a:off x="6021391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Gerade Verbindung 257"/>
            <p:cNvCxnSpPr/>
            <p:nvPr userDrawn="1"/>
          </p:nvCxnSpPr>
          <p:spPr>
            <a:xfrm rot="16200000" flipH="1">
              <a:off x="3997327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Gerade Verbindung 258"/>
            <p:cNvCxnSpPr/>
            <p:nvPr userDrawn="1"/>
          </p:nvCxnSpPr>
          <p:spPr>
            <a:xfrm rot="16200000" flipH="1">
              <a:off x="4140203" y="-26828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259"/>
            <p:cNvCxnSpPr/>
            <p:nvPr userDrawn="1"/>
          </p:nvCxnSpPr>
          <p:spPr>
            <a:xfrm flipH="1">
              <a:off x="-381000" y="389731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260"/>
            <p:cNvCxnSpPr/>
            <p:nvPr userDrawn="1"/>
          </p:nvCxnSpPr>
          <p:spPr>
            <a:xfrm flipH="1">
              <a:off x="-381000" y="40401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Gerade Verbindung 261"/>
            <p:cNvCxnSpPr/>
            <p:nvPr userDrawn="1"/>
          </p:nvCxnSpPr>
          <p:spPr>
            <a:xfrm flipH="1">
              <a:off x="12315825" y="389731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Gerade Verbindung 262"/>
            <p:cNvCxnSpPr/>
            <p:nvPr userDrawn="1"/>
          </p:nvCxnSpPr>
          <p:spPr>
            <a:xfrm flipH="1">
              <a:off x="12315825" y="40401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Gerade Verbindung 263"/>
            <p:cNvCxnSpPr/>
            <p:nvPr userDrawn="1"/>
          </p:nvCxnSpPr>
          <p:spPr>
            <a:xfrm flipH="1">
              <a:off x="12315825" y="342900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Gerade Verbindung 264"/>
            <p:cNvCxnSpPr/>
            <p:nvPr userDrawn="1"/>
          </p:nvCxnSpPr>
          <p:spPr>
            <a:xfrm flipH="1">
              <a:off x="-381000" y="342900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pieren 5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196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53" name="Gruppieren 52"/>
            <p:cNvGrpSpPr/>
            <p:nvPr userDrawn="1"/>
          </p:nvGrpSpPr>
          <p:grpSpPr bwMode="gray">
            <a:xfrm>
              <a:off x="481775" y="337455"/>
              <a:ext cx="2815389" cy="662027"/>
              <a:chOff x="481775" y="337455"/>
              <a:chExt cx="2815389" cy="662027"/>
            </a:xfrm>
          </p:grpSpPr>
          <p:sp>
            <p:nvSpPr>
              <p:cNvPr id="54" name="Freihandform 53"/>
              <p:cNvSpPr>
                <a:spLocks noChangeArrowheads="1"/>
              </p:cNvSpPr>
              <p:nvPr/>
            </p:nvSpPr>
            <p:spPr bwMode="gray">
              <a:xfrm>
                <a:off x="2813076" y="444433"/>
                <a:ext cx="484088" cy="476290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55" name="Freihandform 54"/>
              <p:cNvSpPr>
                <a:spLocks noChangeArrowheads="1"/>
              </p:cNvSpPr>
              <p:nvPr/>
            </p:nvSpPr>
            <p:spPr bwMode="gray">
              <a:xfrm>
                <a:off x="1175199" y="337455"/>
                <a:ext cx="1597949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56" name="Freihandform 55"/>
              <p:cNvSpPr>
                <a:spLocks noChangeArrowheads="1"/>
              </p:cNvSpPr>
              <p:nvPr/>
            </p:nvSpPr>
            <p:spPr bwMode="gray">
              <a:xfrm>
                <a:off x="481775" y="682626"/>
                <a:ext cx="2292197" cy="316856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48" name="Abgerundetes Rechteck 87"/>
          <p:cNvSpPr/>
          <p:nvPr userDrawn="1"/>
        </p:nvSpPr>
        <p:spPr>
          <a:xfrm>
            <a:off x="12649206" y="3276897"/>
            <a:ext cx="1865457" cy="1442613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Placeholder Eye-catcher </a:t>
            </a:r>
            <a:br>
              <a:rPr lang="en-US" sz="1100" b="1" dirty="0">
                <a:solidFill>
                  <a:srgbClr val="2D1E1C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for notes and third party logos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Placement can be varied  </a:t>
            </a:r>
            <a:br>
              <a:rPr lang="en-US" sz="1100" dirty="0">
                <a:solidFill>
                  <a:schemeClr val="bg1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in</a:t>
            </a:r>
            <a:r>
              <a:rPr lang="en-US" sz="11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heights.</a:t>
            </a:r>
            <a:br>
              <a:rPr lang="en-US" sz="1100" dirty="0">
                <a:solidFill>
                  <a:schemeClr val="bg1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If it is</a:t>
            </a:r>
            <a:r>
              <a:rPr lang="en-US" sz="11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100" b="1" baseline="0" dirty="0">
                <a:solidFill>
                  <a:schemeClr val="bg1"/>
                </a:solidFill>
                <a:latin typeface="+mn-lt"/>
              </a:rPr>
              <a:t>not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needed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, please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delete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 this element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029350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tle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82599" y="3158649"/>
            <a:ext cx="7394575" cy="738664"/>
          </a:xfrm>
        </p:spPr>
        <p:txBody>
          <a:bodyPr wrap="square" anchor="b">
            <a:spAutoFit/>
          </a:bodyPr>
          <a:lstStyle>
            <a:lvl1pPr algn="l">
              <a:spcBef>
                <a:spcPts val="0"/>
              </a:spcBef>
              <a:defRPr sz="4800"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Intro title, Calibri Bold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82600" y="3897885"/>
            <a:ext cx="7394575" cy="553998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3600" b="1" baseline="0">
                <a:solidFill>
                  <a:schemeClr val="accent2"/>
                </a:solidFill>
                <a:latin typeface="+mn-lt"/>
              </a:defRPr>
            </a:lvl1pPr>
            <a:lvl2pPr marL="544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2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1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    Title version 3, Calibri Bold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3" name="cdtTextBox 11 Id18"/>
          <p:cNvSpPr txBox="1"/>
          <p:nvPr userDrawn="1">
            <p:custDataLst>
              <p:tags r:id="rId2"/>
            </p:custDataLst>
          </p:nvPr>
        </p:nvSpPr>
        <p:spPr>
          <a:xfrm>
            <a:off x="486000" y="6396038"/>
            <a:ext cx="4120768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1000">
                <a:solidFill>
                  <a:schemeClr val="bg1"/>
                </a:solidFill>
                <a:latin typeface="Calibri" panose="020F0502020204030204" pitchFamily="34" charset="0"/>
              </a:rPr>
              <a:t>Unrestricted © Siemens Healthcare GmbH, 2016</a:t>
            </a:r>
            <a:endParaRPr lang="en-US" sz="10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Textplatzhalter 44"/>
          <p:cNvSpPr>
            <a:spLocks noGrp="1"/>
          </p:cNvSpPr>
          <p:nvPr>
            <p:ph type="body" sz="quarter" idx="10" hasCustomPrompt="1"/>
          </p:nvPr>
        </p:nvSpPr>
        <p:spPr>
          <a:xfrm>
            <a:off x="482599" y="5693172"/>
            <a:ext cx="7394575" cy="615553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er, Calibri 20 </a:t>
            </a:r>
            <a:r>
              <a:rPr lang="en-US" dirty="0" err="1"/>
              <a:t>pt</a:t>
            </a:r>
            <a:r>
              <a:rPr lang="en-US" dirty="0"/>
              <a:t>, Version 00,  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48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0303364" y="4967776"/>
            <a:ext cx="1340949" cy="1340949"/>
          </a:xfrm>
          <a:prstGeom prst="ellipse">
            <a:avLst/>
          </a:prstGeom>
          <a:solidFill>
            <a:srgbClr val="FAD9C0"/>
          </a:solidFill>
        </p:spPr>
        <p:txBody>
          <a:bodyPr anchor="ctr"/>
          <a:lstStyle>
            <a:lvl1pPr algn="ctr"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Eye-catcher for notes and third party logos</a:t>
            </a:r>
          </a:p>
        </p:txBody>
      </p:sp>
      <p:grpSp>
        <p:nvGrpSpPr>
          <p:cNvPr id="86" name="Gruppieren 85"/>
          <p:cNvGrpSpPr/>
          <p:nvPr userDrawn="1"/>
        </p:nvGrpSpPr>
        <p:grpSpPr>
          <a:xfrm>
            <a:off x="-381000" y="-377826"/>
            <a:ext cx="12915900" cy="7610481"/>
            <a:chOff x="-381000" y="-377826"/>
            <a:chExt cx="12915900" cy="7610481"/>
          </a:xfrm>
        </p:grpSpPr>
        <p:cxnSp>
          <p:nvCxnSpPr>
            <p:cNvPr id="87" name="Gerade Verbindung 86"/>
            <p:cNvCxnSpPr/>
            <p:nvPr userDrawn="1"/>
          </p:nvCxnSpPr>
          <p:spPr>
            <a:xfrm flipH="1">
              <a:off x="-381000" y="163036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 flipH="1">
              <a:off x="-381000" y="630872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 flipH="1">
              <a:off x="12315825" y="163036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 Verbindung 89"/>
            <p:cNvCxnSpPr/>
            <p:nvPr userDrawn="1"/>
          </p:nvCxnSpPr>
          <p:spPr>
            <a:xfrm flipH="1">
              <a:off x="12315825" y="630872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 rot="16200000" flipH="1">
              <a:off x="11533187" y="712311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 rot="16200000" flipH="1">
              <a:off x="9513887" y="712311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92"/>
            <p:cNvCxnSpPr/>
            <p:nvPr userDrawn="1"/>
          </p:nvCxnSpPr>
          <p:spPr>
            <a:xfrm rot="16200000" flipH="1">
              <a:off x="372160" y="712311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 rot="16200000" flipH="1">
              <a:off x="7764463" y="712311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 rot="16200000" flipH="1">
              <a:off x="7907339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95"/>
            <p:cNvCxnSpPr/>
            <p:nvPr userDrawn="1"/>
          </p:nvCxnSpPr>
          <p:spPr>
            <a:xfrm rot="16200000" flipH="1">
              <a:off x="5878514" y="712311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 rot="16200000" flipH="1">
              <a:off x="6021390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 rot="16200000" flipH="1">
              <a:off x="3997326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>
            <a:xfrm rot="16200000" flipH="1">
              <a:off x="4140202" y="712311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 rot="16200000" flipH="1">
              <a:off x="11533188" y="-26828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 rot="16200000" flipH="1">
              <a:off x="9513888" y="-26828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>
            <a:xfrm rot="16200000" flipH="1">
              <a:off x="372161" y="-2682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 rot="16200000" flipH="1">
              <a:off x="7764464" y="-26828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 rot="16200000" flipH="1">
              <a:off x="7907340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/>
            <p:cNvCxnSpPr/>
            <p:nvPr userDrawn="1"/>
          </p:nvCxnSpPr>
          <p:spPr>
            <a:xfrm rot="16200000" flipH="1">
              <a:off x="5878515" y="-26828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 rot="16200000" flipH="1">
              <a:off x="6021391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 rot="16200000" flipH="1">
              <a:off x="3997327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 rot="16200000" flipH="1">
              <a:off x="4140203" y="-26828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 flipH="1">
              <a:off x="-381000" y="389731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 flipH="1">
              <a:off x="-381000" y="40401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 flipH="1">
              <a:off x="12315825" y="389731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 flipH="1">
              <a:off x="12315825" y="40401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 flipH="1">
              <a:off x="12315825" y="342900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>
            <a:xfrm flipH="1">
              <a:off x="-381000" y="342900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6" name="cdtTextBox 11 Id18"/>
          <p:cNvSpPr txBox="1"/>
          <p:nvPr userDrawn="1">
            <p:custDataLst>
              <p:tags r:id="rId3"/>
            </p:custDataLst>
          </p:nvPr>
        </p:nvSpPr>
        <p:spPr>
          <a:xfrm>
            <a:off x="8020050" y="6597650"/>
            <a:ext cx="3620777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indent="0" algn="r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nrestricted © Siemens Healthcare GmbH, 2016 </a:t>
            </a:r>
            <a:endParaRPr lang="en-US" sz="1000" kern="0" noProof="0" dirty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47" name="Gruppieren 46"/>
          <p:cNvGrpSpPr/>
          <p:nvPr userDrawn="1"/>
        </p:nvGrpSpPr>
        <p:grpSpPr>
          <a:xfrm>
            <a:off x="481775" y="337455"/>
            <a:ext cx="2815389" cy="662027"/>
            <a:chOff x="481775" y="337455"/>
            <a:chExt cx="2815389" cy="662027"/>
          </a:xfrm>
        </p:grpSpPr>
        <p:sp>
          <p:nvSpPr>
            <p:cNvPr id="49" name="Freihandform 48"/>
            <p:cNvSpPr>
              <a:spLocks noChangeArrowheads="1"/>
            </p:cNvSpPr>
            <p:nvPr/>
          </p:nvSpPr>
          <p:spPr bwMode="auto">
            <a:xfrm>
              <a:off x="2813076" y="444433"/>
              <a:ext cx="484088" cy="476290"/>
            </a:xfrm>
            <a:custGeom>
              <a:avLst/>
              <a:gdLst>
                <a:gd name="connsiteX0" fmla="*/ 224003 w 484088"/>
                <a:gd name="connsiteY0" fmla="*/ 410646 h 476290"/>
                <a:gd name="connsiteX1" fmla="*/ 247187 w 484088"/>
                <a:gd name="connsiteY1" fmla="*/ 420103 h 476290"/>
                <a:gd name="connsiteX2" fmla="*/ 247187 w 484088"/>
                <a:gd name="connsiteY2" fmla="*/ 466833 h 476290"/>
                <a:gd name="connsiteX3" fmla="*/ 200818 w 484088"/>
                <a:gd name="connsiteY3" fmla="*/ 466833 h 476290"/>
                <a:gd name="connsiteX4" fmla="*/ 200818 w 484088"/>
                <a:gd name="connsiteY4" fmla="*/ 420103 h 476290"/>
                <a:gd name="connsiteX5" fmla="*/ 224003 w 484088"/>
                <a:gd name="connsiteY5" fmla="*/ 410646 h 476290"/>
                <a:gd name="connsiteX6" fmla="*/ 121049 w 484088"/>
                <a:gd name="connsiteY6" fmla="*/ 316301 h 476290"/>
                <a:gd name="connsiteX7" fmla="*/ 138696 w 484088"/>
                <a:gd name="connsiteY7" fmla="*/ 323796 h 476290"/>
                <a:gd name="connsiteX8" fmla="*/ 138696 w 484088"/>
                <a:gd name="connsiteY8" fmla="*/ 359325 h 476290"/>
                <a:gd name="connsiteX9" fmla="*/ 103128 w 484088"/>
                <a:gd name="connsiteY9" fmla="*/ 359325 h 476290"/>
                <a:gd name="connsiteX10" fmla="*/ 103128 w 484088"/>
                <a:gd name="connsiteY10" fmla="*/ 323796 h 476290"/>
                <a:gd name="connsiteX11" fmla="*/ 121049 w 484088"/>
                <a:gd name="connsiteY11" fmla="*/ 316301 h 476290"/>
                <a:gd name="connsiteX12" fmla="*/ 325449 w 484088"/>
                <a:gd name="connsiteY12" fmla="*/ 298284 h 476290"/>
                <a:gd name="connsiteX13" fmla="*/ 356024 w 484088"/>
                <a:gd name="connsiteY13" fmla="*/ 310902 h 476290"/>
                <a:gd name="connsiteX14" fmla="*/ 356024 w 484088"/>
                <a:gd name="connsiteY14" fmla="*/ 372214 h 476290"/>
                <a:gd name="connsiteX15" fmla="*/ 294874 w 484088"/>
                <a:gd name="connsiteY15" fmla="*/ 372214 h 476290"/>
                <a:gd name="connsiteX16" fmla="*/ 294874 w 484088"/>
                <a:gd name="connsiteY16" fmla="*/ 310902 h 476290"/>
                <a:gd name="connsiteX17" fmla="*/ 325449 w 484088"/>
                <a:gd name="connsiteY17" fmla="*/ 298284 h 476290"/>
                <a:gd name="connsiteX18" fmla="*/ 19273 w 484088"/>
                <a:gd name="connsiteY18" fmla="*/ 218685 h 476290"/>
                <a:gd name="connsiteX19" fmla="*/ 32986 w 484088"/>
                <a:gd name="connsiteY19" fmla="*/ 224259 h 476290"/>
                <a:gd name="connsiteX20" fmla="*/ 32986 w 484088"/>
                <a:gd name="connsiteY20" fmla="*/ 251759 h 476290"/>
                <a:gd name="connsiteX21" fmla="*/ 5560 w 484088"/>
                <a:gd name="connsiteY21" fmla="*/ 251759 h 476290"/>
                <a:gd name="connsiteX22" fmla="*/ 5560 w 484088"/>
                <a:gd name="connsiteY22" fmla="*/ 224259 h 476290"/>
                <a:gd name="connsiteX23" fmla="*/ 19273 w 484088"/>
                <a:gd name="connsiteY23" fmla="*/ 218685 h 476290"/>
                <a:gd name="connsiteX24" fmla="*/ 224003 w 484088"/>
                <a:gd name="connsiteY24" fmla="*/ 205318 h 476290"/>
                <a:gd name="connsiteX25" fmla="*/ 247187 w 484088"/>
                <a:gd name="connsiteY25" fmla="*/ 215174 h 476290"/>
                <a:gd name="connsiteX26" fmla="*/ 247187 w 484088"/>
                <a:gd name="connsiteY26" fmla="*/ 262482 h 476290"/>
                <a:gd name="connsiteX27" fmla="*/ 200818 w 484088"/>
                <a:gd name="connsiteY27" fmla="*/ 262482 h 476290"/>
                <a:gd name="connsiteX28" fmla="*/ 200818 w 484088"/>
                <a:gd name="connsiteY28" fmla="*/ 215174 h 476290"/>
                <a:gd name="connsiteX29" fmla="*/ 224003 w 484088"/>
                <a:gd name="connsiteY29" fmla="*/ 205318 h 476290"/>
                <a:gd name="connsiteX30" fmla="*/ 428279 w 484088"/>
                <a:gd name="connsiteY30" fmla="*/ 182871 h 476290"/>
                <a:gd name="connsiteX31" fmla="*/ 467652 w 484088"/>
                <a:gd name="connsiteY31" fmla="*/ 199351 h 476290"/>
                <a:gd name="connsiteX32" fmla="*/ 467652 w 484088"/>
                <a:gd name="connsiteY32" fmla="*/ 278307 h 476290"/>
                <a:gd name="connsiteX33" fmla="*/ 388906 w 484088"/>
                <a:gd name="connsiteY33" fmla="*/ 278307 h 476290"/>
                <a:gd name="connsiteX34" fmla="*/ 388906 w 484088"/>
                <a:gd name="connsiteY34" fmla="*/ 199351 h 476290"/>
                <a:gd name="connsiteX35" fmla="*/ 428279 w 484088"/>
                <a:gd name="connsiteY35" fmla="*/ 182871 h 476290"/>
                <a:gd name="connsiteX36" fmla="*/ 121049 w 484088"/>
                <a:gd name="connsiteY36" fmla="*/ 110842 h 476290"/>
                <a:gd name="connsiteX37" fmla="*/ 138696 w 484088"/>
                <a:gd name="connsiteY37" fmla="*/ 118337 h 476290"/>
                <a:gd name="connsiteX38" fmla="*/ 138696 w 484088"/>
                <a:gd name="connsiteY38" fmla="*/ 154236 h 476290"/>
                <a:gd name="connsiteX39" fmla="*/ 103128 w 484088"/>
                <a:gd name="connsiteY39" fmla="*/ 154236 h 476290"/>
                <a:gd name="connsiteX40" fmla="*/ 103128 w 484088"/>
                <a:gd name="connsiteY40" fmla="*/ 118337 h 476290"/>
                <a:gd name="connsiteX41" fmla="*/ 121049 w 484088"/>
                <a:gd name="connsiteY41" fmla="*/ 110842 h 476290"/>
                <a:gd name="connsiteX42" fmla="*/ 325683 w 484088"/>
                <a:gd name="connsiteY42" fmla="*/ 92919 h 476290"/>
                <a:gd name="connsiteX43" fmla="*/ 356092 w 484088"/>
                <a:gd name="connsiteY43" fmla="*/ 105817 h 476290"/>
                <a:gd name="connsiteX44" fmla="*/ 356092 w 484088"/>
                <a:gd name="connsiteY44" fmla="*/ 166756 h 476290"/>
                <a:gd name="connsiteX45" fmla="*/ 295553 w 484088"/>
                <a:gd name="connsiteY45" fmla="*/ 166756 h 476290"/>
                <a:gd name="connsiteX46" fmla="*/ 295553 w 484088"/>
                <a:gd name="connsiteY46" fmla="*/ 105817 h 476290"/>
                <a:gd name="connsiteX47" fmla="*/ 325683 w 484088"/>
                <a:gd name="connsiteY47" fmla="*/ 92919 h 476290"/>
                <a:gd name="connsiteX48" fmla="*/ 224003 w 484088"/>
                <a:gd name="connsiteY48" fmla="*/ 0 h 476290"/>
                <a:gd name="connsiteX49" fmla="*/ 247187 w 484088"/>
                <a:gd name="connsiteY49" fmla="*/ 9715 h 476290"/>
                <a:gd name="connsiteX50" fmla="*/ 247187 w 484088"/>
                <a:gd name="connsiteY50" fmla="*/ 57022 h 476290"/>
                <a:gd name="connsiteX51" fmla="*/ 200818 w 484088"/>
                <a:gd name="connsiteY51" fmla="*/ 57022 h 476290"/>
                <a:gd name="connsiteX52" fmla="*/ 200818 w 484088"/>
                <a:gd name="connsiteY52" fmla="*/ 9715 h 476290"/>
                <a:gd name="connsiteX53" fmla="*/ 224003 w 484088"/>
                <a:gd name="connsiteY53" fmla="*/ 0 h 476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84088" h="476290">
                  <a:moveTo>
                    <a:pt x="224003" y="410646"/>
                  </a:moveTo>
                  <a:cubicBezTo>
                    <a:pt x="232375" y="410646"/>
                    <a:pt x="240747" y="413798"/>
                    <a:pt x="247187" y="420103"/>
                  </a:cubicBezTo>
                  <a:cubicBezTo>
                    <a:pt x="260067" y="433084"/>
                    <a:pt x="260067" y="453853"/>
                    <a:pt x="247187" y="466833"/>
                  </a:cubicBezTo>
                  <a:cubicBezTo>
                    <a:pt x="234307" y="479443"/>
                    <a:pt x="213699" y="479443"/>
                    <a:pt x="200818" y="466833"/>
                  </a:cubicBezTo>
                  <a:cubicBezTo>
                    <a:pt x="188306" y="454224"/>
                    <a:pt x="188306" y="433455"/>
                    <a:pt x="200818" y="420103"/>
                  </a:cubicBezTo>
                  <a:cubicBezTo>
                    <a:pt x="207259" y="413798"/>
                    <a:pt x="215631" y="410646"/>
                    <a:pt x="224003" y="410646"/>
                  </a:cubicBezTo>
                  <a:close/>
                  <a:moveTo>
                    <a:pt x="121049" y="316301"/>
                  </a:moveTo>
                  <a:cubicBezTo>
                    <a:pt x="127512" y="316301"/>
                    <a:pt x="133929" y="318800"/>
                    <a:pt x="138696" y="323796"/>
                  </a:cubicBezTo>
                  <a:cubicBezTo>
                    <a:pt x="148597" y="333788"/>
                    <a:pt x="148597" y="349333"/>
                    <a:pt x="138696" y="359325"/>
                  </a:cubicBezTo>
                  <a:cubicBezTo>
                    <a:pt x="129162" y="369318"/>
                    <a:pt x="113028" y="369318"/>
                    <a:pt x="103128" y="359325"/>
                  </a:cubicBezTo>
                  <a:cubicBezTo>
                    <a:pt x="93227" y="349333"/>
                    <a:pt x="93227" y="333788"/>
                    <a:pt x="103128" y="323796"/>
                  </a:cubicBezTo>
                  <a:cubicBezTo>
                    <a:pt x="108078" y="318800"/>
                    <a:pt x="114587" y="316301"/>
                    <a:pt x="121049" y="316301"/>
                  </a:cubicBezTo>
                  <a:close/>
                  <a:moveTo>
                    <a:pt x="325449" y="298284"/>
                  </a:moveTo>
                  <a:cubicBezTo>
                    <a:pt x="336448" y="298284"/>
                    <a:pt x="347448" y="302490"/>
                    <a:pt x="356024" y="310902"/>
                  </a:cubicBezTo>
                  <a:cubicBezTo>
                    <a:pt x="372803" y="328099"/>
                    <a:pt x="373175" y="355016"/>
                    <a:pt x="356024" y="372214"/>
                  </a:cubicBezTo>
                  <a:cubicBezTo>
                    <a:pt x="339245" y="389037"/>
                    <a:pt x="312026" y="389037"/>
                    <a:pt x="294874" y="372214"/>
                  </a:cubicBezTo>
                  <a:cubicBezTo>
                    <a:pt x="278468" y="355016"/>
                    <a:pt x="278468" y="328099"/>
                    <a:pt x="294874" y="310902"/>
                  </a:cubicBezTo>
                  <a:cubicBezTo>
                    <a:pt x="303450" y="302490"/>
                    <a:pt x="314449" y="298284"/>
                    <a:pt x="325449" y="298284"/>
                  </a:cubicBezTo>
                  <a:close/>
                  <a:moveTo>
                    <a:pt x="19273" y="218685"/>
                  </a:moveTo>
                  <a:cubicBezTo>
                    <a:pt x="24277" y="218685"/>
                    <a:pt x="29280" y="220543"/>
                    <a:pt x="32986" y="224259"/>
                  </a:cubicBezTo>
                  <a:cubicBezTo>
                    <a:pt x="40399" y="231692"/>
                    <a:pt x="40399" y="243955"/>
                    <a:pt x="32986" y="251759"/>
                  </a:cubicBezTo>
                  <a:cubicBezTo>
                    <a:pt x="25574" y="259192"/>
                    <a:pt x="12972" y="259192"/>
                    <a:pt x="5560" y="251759"/>
                  </a:cubicBezTo>
                  <a:cubicBezTo>
                    <a:pt x="-1853" y="243955"/>
                    <a:pt x="-1853" y="231692"/>
                    <a:pt x="5560" y="224259"/>
                  </a:cubicBezTo>
                  <a:cubicBezTo>
                    <a:pt x="9266" y="220543"/>
                    <a:pt x="14270" y="218685"/>
                    <a:pt x="19273" y="218685"/>
                  </a:cubicBezTo>
                  <a:close/>
                  <a:moveTo>
                    <a:pt x="224003" y="205318"/>
                  </a:moveTo>
                  <a:cubicBezTo>
                    <a:pt x="232375" y="205318"/>
                    <a:pt x="240747" y="208604"/>
                    <a:pt x="247187" y="215174"/>
                  </a:cubicBezTo>
                  <a:cubicBezTo>
                    <a:pt x="260067" y="228315"/>
                    <a:pt x="260067" y="249341"/>
                    <a:pt x="247187" y="262482"/>
                  </a:cubicBezTo>
                  <a:cubicBezTo>
                    <a:pt x="234307" y="275624"/>
                    <a:pt x="213699" y="275624"/>
                    <a:pt x="200818" y="262482"/>
                  </a:cubicBezTo>
                  <a:cubicBezTo>
                    <a:pt x="188306" y="249341"/>
                    <a:pt x="188306" y="228315"/>
                    <a:pt x="200818" y="215174"/>
                  </a:cubicBezTo>
                  <a:cubicBezTo>
                    <a:pt x="207259" y="208604"/>
                    <a:pt x="215631" y="205318"/>
                    <a:pt x="224003" y="205318"/>
                  </a:cubicBezTo>
                  <a:close/>
                  <a:moveTo>
                    <a:pt x="428279" y="182871"/>
                  </a:moveTo>
                  <a:cubicBezTo>
                    <a:pt x="442487" y="182871"/>
                    <a:pt x="456694" y="188365"/>
                    <a:pt x="467652" y="199351"/>
                  </a:cubicBezTo>
                  <a:cubicBezTo>
                    <a:pt x="489567" y="221325"/>
                    <a:pt x="489567" y="256334"/>
                    <a:pt x="467652" y="278307"/>
                  </a:cubicBezTo>
                  <a:cubicBezTo>
                    <a:pt x="445737" y="300281"/>
                    <a:pt x="410821" y="300281"/>
                    <a:pt x="388906" y="278307"/>
                  </a:cubicBezTo>
                  <a:cubicBezTo>
                    <a:pt x="366991" y="256706"/>
                    <a:pt x="366991" y="221325"/>
                    <a:pt x="388906" y="199351"/>
                  </a:cubicBezTo>
                  <a:cubicBezTo>
                    <a:pt x="399864" y="188365"/>
                    <a:pt x="414071" y="182871"/>
                    <a:pt x="428279" y="182871"/>
                  </a:cubicBezTo>
                  <a:close/>
                  <a:moveTo>
                    <a:pt x="121049" y="110842"/>
                  </a:moveTo>
                  <a:cubicBezTo>
                    <a:pt x="127512" y="110842"/>
                    <a:pt x="133929" y="113340"/>
                    <a:pt x="138696" y="118337"/>
                  </a:cubicBezTo>
                  <a:cubicBezTo>
                    <a:pt x="148597" y="128329"/>
                    <a:pt x="148597" y="144244"/>
                    <a:pt x="138696" y="154236"/>
                  </a:cubicBezTo>
                  <a:cubicBezTo>
                    <a:pt x="129162" y="163859"/>
                    <a:pt x="113028" y="163859"/>
                    <a:pt x="103128" y="154236"/>
                  </a:cubicBezTo>
                  <a:cubicBezTo>
                    <a:pt x="93227" y="144244"/>
                    <a:pt x="93227" y="128329"/>
                    <a:pt x="103128" y="118337"/>
                  </a:cubicBezTo>
                  <a:cubicBezTo>
                    <a:pt x="108078" y="113340"/>
                    <a:pt x="114587" y="110842"/>
                    <a:pt x="121049" y="110842"/>
                  </a:cubicBezTo>
                  <a:close/>
                  <a:moveTo>
                    <a:pt x="325683" y="92919"/>
                  </a:moveTo>
                  <a:cubicBezTo>
                    <a:pt x="336593" y="92919"/>
                    <a:pt x="347550" y="97219"/>
                    <a:pt x="356092" y="105817"/>
                  </a:cubicBezTo>
                  <a:cubicBezTo>
                    <a:pt x="373177" y="122641"/>
                    <a:pt x="373177" y="149558"/>
                    <a:pt x="356092" y="166756"/>
                  </a:cubicBezTo>
                  <a:cubicBezTo>
                    <a:pt x="339007" y="183579"/>
                    <a:pt x="312638" y="183579"/>
                    <a:pt x="295553" y="166756"/>
                  </a:cubicBezTo>
                  <a:cubicBezTo>
                    <a:pt x="278840" y="149558"/>
                    <a:pt x="278468" y="122641"/>
                    <a:pt x="295553" y="105817"/>
                  </a:cubicBezTo>
                  <a:cubicBezTo>
                    <a:pt x="303910" y="97219"/>
                    <a:pt x="314773" y="92919"/>
                    <a:pt x="325683" y="92919"/>
                  </a:cubicBezTo>
                  <a:close/>
                  <a:moveTo>
                    <a:pt x="224003" y="0"/>
                  </a:moveTo>
                  <a:cubicBezTo>
                    <a:pt x="232375" y="-47"/>
                    <a:pt x="240747" y="3144"/>
                    <a:pt x="247187" y="9715"/>
                  </a:cubicBezTo>
                  <a:cubicBezTo>
                    <a:pt x="260067" y="22480"/>
                    <a:pt x="260067" y="44257"/>
                    <a:pt x="247187" y="57022"/>
                  </a:cubicBezTo>
                  <a:cubicBezTo>
                    <a:pt x="234307" y="70163"/>
                    <a:pt x="213699" y="69788"/>
                    <a:pt x="200818" y="57022"/>
                  </a:cubicBezTo>
                  <a:cubicBezTo>
                    <a:pt x="188306" y="43881"/>
                    <a:pt x="188306" y="22856"/>
                    <a:pt x="200818" y="9715"/>
                  </a:cubicBezTo>
                  <a:cubicBezTo>
                    <a:pt x="207259" y="3332"/>
                    <a:pt x="215631" y="47"/>
                    <a:pt x="224003" y="0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bevel/>
              <a:headEnd/>
              <a:tailEnd/>
            </a:ln>
            <a:effectLst/>
          </p:spPr>
          <p:txBody>
            <a:bodyPr wrap="square" anchor="ctr">
              <a:prstTxWarp prst="textNoShape">
                <a:avLst/>
              </a:prstTxWarp>
              <a:noAutofit/>
            </a:bodyPr>
            <a:lstStyle/>
            <a:p>
              <a:pPr marL="0" marR="0" lvl="0" indent="0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rPr>
                <a:t> </a:t>
              </a:r>
            </a:p>
          </p:txBody>
        </p:sp>
        <p:sp>
          <p:nvSpPr>
            <p:cNvPr id="50" name="Freihandform 49"/>
            <p:cNvSpPr>
              <a:spLocks noChangeArrowheads="1"/>
            </p:cNvSpPr>
            <p:nvPr/>
          </p:nvSpPr>
          <p:spPr bwMode="auto">
            <a:xfrm>
              <a:off x="1175199" y="337455"/>
              <a:ext cx="1597949" cy="254396"/>
            </a:xfrm>
            <a:custGeom>
              <a:avLst/>
              <a:gdLst>
                <a:gd name="connsiteX0" fmla="*/ 1157347 w 1597949"/>
                <a:gd name="connsiteY0" fmla="*/ 4931 h 254396"/>
                <a:gd name="connsiteX1" fmla="*/ 1235941 w 1597949"/>
                <a:gd name="connsiteY1" fmla="*/ 4931 h 254396"/>
                <a:gd name="connsiteX2" fmla="*/ 1319354 w 1597949"/>
                <a:gd name="connsiteY2" fmla="*/ 168700 h 254396"/>
                <a:gd name="connsiteX3" fmla="*/ 1319354 w 1597949"/>
                <a:gd name="connsiteY3" fmla="*/ 4931 h 254396"/>
                <a:gd name="connsiteX4" fmla="*/ 1366807 w 1597949"/>
                <a:gd name="connsiteY4" fmla="*/ 4931 h 254396"/>
                <a:gd name="connsiteX5" fmla="*/ 1366807 w 1597949"/>
                <a:gd name="connsiteY5" fmla="*/ 249463 h 254396"/>
                <a:gd name="connsiteX6" fmla="*/ 1291179 w 1597949"/>
                <a:gd name="connsiteY6" fmla="*/ 249463 h 254396"/>
                <a:gd name="connsiteX7" fmla="*/ 1205170 w 1597949"/>
                <a:gd name="connsiteY7" fmla="*/ 83451 h 254396"/>
                <a:gd name="connsiteX8" fmla="*/ 1205170 w 1597949"/>
                <a:gd name="connsiteY8" fmla="*/ 249463 h 254396"/>
                <a:gd name="connsiteX9" fmla="*/ 1157347 w 1597949"/>
                <a:gd name="connsiteY9" fmla="*/ 249463 h 254396"/>
                <a:gd name="connsiteX10" fmla="*/ 936042 w 1597949"/>
                <a:gd name="connsiteY10" fmla="*/ 4931 h 254396"/>
                <a:gd name="connsiteX11" fmla="*/ 1110117 w 1597949"/>
                <a:gd name="connsiteY11" fmla="*/ 4931 h 254396"/>
                <a:gd name="connsiteX12" fmla="*/ 1110117 w 1597949"/>
                <a:gd name="connsiteY12" fmla="*/ 49052 h 254396"/>
                <a:gd name="connsiteX13" fmla="*/ 1001367 w 1597949"/>
                <a:gd name="connsiteY13" fmla="*/ 49052 h 254396"/>
                <a:gd name="connsiteX14" fmla="*/ 1001367 w 1597949"/>
                <a:gd name="connsiteY14" fmla="*/ 104015 h 254396"/>
                <a:gd name="connsiteX15" fmla="*/ 1096013 w 1597949"/>
                <a:gd name="connsiteY15" fmla="*/ 104015 h 254396"/>
                <a:gd name="connsiteX16" fmla="*/ 1096013 w 1597949"/>
                <a:gd name="connsiteY16" fmla="*/ 144771 h 254396"/>
                <a:gd name="connsiteX17" fmla="*/ 1001367 w 1597949"/>
                <a:gd name="connsiteY17" fmla="*/ 144771 h 254396"/>
                <a:gd name="connsiteX18" fmla="*/ 1001367 w 1597949"/>
                <a:gd name="connsiteY18" fmla="*/ 202725 h 254396"/>
                <a:gd name="connsiteX19" fmla="*/ 1112716 w 1597949"/>
                <a:gd name="connsiteY19" fmla="*/ 202725 h 254396"/>
                <a:gd name="connsiteX20" fmla="*/ 1112716 w 1597949"/>
                <a:gd name="connsiteY20" fmla="*/ 249463 h 254396"/>
                <a:gd name="connsiteX21" fmla="*/ 936042 w 1597949"/>
                <a:gd name="connsiteY21" fmla="*/ 249463 h 254396"/>
                <a:gd name="connsiteX22" fmla="*/ 577034 w 1597949"/>
                <a:gd name="connsiteY22" fmla="*/ 4931 h 254396"/>
                <a:gd name="connsiteX23" fmla="*/ 665266 w 1597949"/>
                <a:gd name="connsiteY23" fmla="*/ 4931 h 254396"/>
                <a:gd name="connsiteX24" fmla="*/ 725949 w 1597949"/>
                <a:gd name="connsiteY24" fmla="*/ 160843 h 254396"/>
                <a:gd name="connsiteX25" fmla="*/ 789611 w 1597949"/>
                <a:gd name="connsiteY25" fmla="*/ 4931 h 254396"/>
                <a:gd name="connsiteX26" fmla="*/ 873375 w 1597949"/>
                <a:gd name="connsiteY26" fmla="*/ 4931 h 254396"/>
                <a:gd name="connsiteX27" fmla="*/ 873375 w 1597949"/>
                <a:gd name="connsiteY27" fmla="*/ 248870 h 254396"/>
                <a:gd name="connsiteX28" fmla="*/ 808225 w 1597949"/>
                <a:gd name="connsiteY28" fmla="*/ 248870 h 254396"/>
                <a:gd name="connsiteX29" fmla="*/ 808225 w 1597949"/>
                <a:gd name="connsiteY29" fmla="*/ 75800 h 254396"/>
                <a:gd name="connsiteX30" fmla="*/ 737118 w 1597949"/>
                <a:gd name="connsiteY30" fmla="*/ 251108 h 254396"/>
                <a:gd name="connsiteX31" fmla="*/ 694677 w 1597949"/>
                <a:gd name="connsiteY31" fmla="*/ 251108 h 254396"/>
                <a:gd name="connsiteX32" fmla="*/ 625059 w 1597949"/>
                <a:gd name="connsiteY32" fmla="*/ 75800 h 254396"/>
                <a:gd name="connsiteX33" fmla="*/ 625059 w 1597949"/>
                <a:gd name="connsiteY33" fmla="*/ 248870 h 254396"/>
                <a:gd name="connsiteX34" fmla="*/ 577034 w 1597949"/>
                <a:gd name="connsiteY34" fmla="*/ 248870 h 254396"/>
                <a:gd name="connsiteX35" fmla="*/ 355729 w 1597949"/>
                <a:gd name="connsiteY35" fmla="*/ 4931 h 254396"/>
                <a:gd name="connsiteX36" fmla="*/ 530170 w 1597949"/>
                <a:gd name="connsiteY36" fmla="*/ 4931 h 254396"/>
                <a:gd name="connsiteX37" fmla="*/ 530170 w 1597949"/>
                <a:gd name="connsiteY37" fmla="*/ 49052 h 254396"/>
                <a:gd name="connsiteX38" fmla="*/ 420819 w 1597949"/>
                <a:gd name="connsiteY38" fmla="*/ 49052 h 254396"/>
                <a:gd name="connsiteX39" fmla="*/ 420819 w 1597949"/>
                <a:gd name="connsiteY39" fmla="*/ 104015 h 254396"/>
                <a:gd name="connsiteX40" fmla="*/ 516036 w 1597949"/>
                <a:gd name="connsiteY40" fmla="*/ 104015 h 254396"/>
                <a:gd name="connsiteX41" fmla="*/ 516036 w 1597949"/>
                <a:gd name="connsiteY41" fmla="*/ 144771 h 254396"/>
                <a:gd name="connsiteX42" fmla="*/ 420819 w 1597949"/>
                <a:gd name="connsiteY42" fmla="*/ 144771 h 254396"/>
                <a:gd name="connsiteX43" fmla="*/ 420819 w 1597949"/>
                <a:gd name="connsiteY43" fmla="*/ 202725 h 254396"/>
                <a:gd name="connsiteX44" fmla="*/ 532402 w 1597949"/>
                <a:gd name="connsiteY44" fmla="*/ 202725 h 254396"/>
                <a:gd name="connsiteX45" fmla="*/ 532402 w 1597949"/>
                <a:gd name="connsiteY45" fmla="*/ 249463 h 254396"/>
                <a:gd name="connsiteX46" fmla="*/ 355729 w 1597949"/>
                <a:gd name="connsiteY46" fmla="*/ 249463 h 254396"/>
                <a:gd name="connsiteX47" fmla="*/ 226224 w 1597949"/>
                <a:gd name="connsiteY47" fmla="*/ 4931 h 254396"/>
                <a:gd name="connsiteX48" fmla="*/ 293068 w 1597949"/>
                <a:gd name="connsiteY48" fmla="*/ 4931 h 254396"/>
                <a:gd name="connsiteX49" fmla="*/ 293068 w 1597949"/>
                <a:gd name="connsiteY49" fmla="*/ 249464 h 254396"/>
                <a:gd name="connsiteX50" fmla="*/ 259646 w 1597949"/>
                <a:gd name="connsiteY50" fmla="*/ 249464 h 254396"/>
                <a:gd name="connsiteX51" fmla="*/ 226224 w 1597949"/>
                <a:gd name="connsiteY51" fmla="*/ 249464 h 254396"/>
                <a:gd name="connsiteX52" fmla="*/ 1509330 w 1597949"/>
                <a:gd name="connsiteY52" fmla="*/ 0 h 254396"/>
                <a:gd name="connsiteX53" fmla="*/ 1573106 w 1597949"/>
                <a:gd name="connsiteY53" fmla="*/ 7806 h 254396"/>
                <a:gd name="connsiteX54" fmla="*/ 1579039 w 1597949"/>
                <a:gd name="connsiteY54" fmla="*/ 8921 h 254396"/>
                <a:gd name="connsiteX55" fmla="*/ 1579039 w 1597949"/>
                <a:gd name="connsiteY55" fmla="*/ 55011 h 254396"/>
                <a:gd name="connsiteX56" fmla="*/ 1516004 w 1597949"/>
                <a:gd name="connsiteY56" fmla="*/ 41630 h 254396"/>
                <a:gd name="connsiteX57" fmla="*/ 1475217 w 1597949"/>
                <a:gd name="connsiteY57" fmla="*/ 63932 h 254396"/>
                <a:gd name="connsiteX58" fmla="*/ 1483745 w 1597949"/>
                <a:gd name="connsiteY58" fmla="*/ 78056 h 254396"/>
                <a:gd name="connsiteX59" fmla="*/ 1521195 w 1597949"/>
                <a:gd name="connsiteY59" fmla="*/ 96641 h 254396"/>
                <a:gd name="connsiteX60" fmla="*/ 1580522 w 1597949"/>
                <a:gd name="connsiteY60" fmla="*/ 130837 h 254396"/>
                <a:gd name="connsiteX61" fmla="*/ 1597949 w 1597949"/>
                <a:gd name="connsiteY61" fmla="*/ 175812 h 254396"/>
                <a:gd name="connsiteX62" fmla="*/ 1563466 w 1597949"/>
                <a:gd name="connsiteY62" fmla="*/ 236027 h 254396"/>
                <a:gd name="connsiteX63" fmla="*/ 1491532 w 1597949"/>
                <a:gd name="connsiteY63" fmla="*/ 252753 h 254396"/>
                <a:gd name="connsiteX64" fmla="*/ 1415890 w 1597949"/>
                <a:gd name="connsiteY64" fmla="*/ 243833 h 254396"/>
                <a:gd name="connsiteX65" fmla="*/ 1415890 w 1597949"/>
                <a:gd name="connsiteY65" fmla="*/ 195884 h 254396"/>
                <a:gd name="connsiteX66" fmla="*/ 1488565 w 1597949"/>
                <a:gd name="connsiteY66" fmla="*/ 208893 h 254396"/>
                <a:gd name="connsiteX67" fmla="*/ 1532319 w 1597949"/>
                <a:gd name="connsiteY67" fmla="*/ 186220 h 254396"/>
                <a:gd name="connsiteX68" fmla="*/ 1526386 w 1597949"/>
                <a:gd name="connsiteY68" fmla="*/ 171724 h 254396"/>
                <a:gd name="connsiteX69" fmla="*/ 1493015 w 1597949"/>
                <a:gd name="connsiteY69" fmla="*/ 154254 h 254396"/>
                <a:gd name="connsiteX70" fmla="*/ 1430351 w 1597949"/>
                <a:gd name="connsiteY70" fmla="*/ 120430 h 254396"/>
                <a:gd name="connsiteX71" fmla="*/ 1411440 w 1597949"/>
                <a:gd name="connsiteY71" fmla="*/ 73596 h 254396"/>
                <a:gd name="connsiteX72" fmla="*/ 1438879 w 1597949"/>
                <a:gd name="connsiteY72" fmla="*/ 18957 h 254396"/>
                <a:gd name="connsiteX73" fmla="*/ 1509330 w 1597949"/>
                <a:gd name="connsiteY73" fmla="*/ 0 h 254396"/>
                <a:gd name="connsiteX74" fmla="*/ 97518 w 1597949"/>
                <a:gd name="connsiteY74" fmla="*/ 0 h 254396"/>
                <a:gd name="connsiteX75" fmla="*/ 166857 w 1597949"/>
                <a:gd name="connsiteY75" fmla="*/ 8966 h 254396"/>
                <a:gd name="connsiteX76" fmla="*/ 166857 w 1597949"/>
                <a:gd name="connsiteY76" fmla="*/ 55661 h 254396"/>
                <a:gd name="connsiteX77" fmla="*/ 104564 w 1597949"/>
                <a:gd name="connsiteY77" fmla="*/ 42213 h 254396"/>
                <a:gd name="connsiteX78" fmla="*/ 64147 w 1597949"/>
                <a:gd name="connsiteY78" fmla="*/ 64626 h 254396"/>
                <a:gd name="connsiteX79" fmla="*/ 72675 w 1597949"/>
                <a:gd name="connsiteY79" fmla="*/ 78448 h 254396"/>
                <a:gd name="connsiteX80" fmla="*/ 109755 w 1597949"/>
                <a:gd name="connsiteY80" fmla="*/ 97126 h 254396"/>
                <a:gd name="connsiteX81" fmla="*/ 169082 w 1597949"/>
                <a:gd name="connsiteY81" fmla="*/ 131494 h 254396"/>
                <a:gd name="connsiteX82" fmla="*/ 186509 w 1597949"/>
                <a:gd name="connsiteY82" fmla="*/ 176695 h 254396"/>
                <a:gd name="connsiteX83" fmla="*/ 152025 w 1597949"/>
                <a:gd name="connsiteY83" fmla="*/ 237212 h 254396"/>
                <a:gd name="connsiteX84" fmla="*/ 80462 w 1597949"/>
                <a:gd name="connsiteY84" fmla="*/ 254396 h 254396"/>
                <a:gd name="connsiteX85" fmla="*/ 4820 w 1597949"/>
                <a:gd name="connsiteY85" fmla="*/ 244683 h 254396"/>
                <a:gd name="connsiteX86" fmla="*/ 4820 w 1597949"/>
                <a:gd name="connsiteY86" fmla="*/ 196494 h 254396"/>
                <a:gd name="connsiteX87" fmla="*/ 77496 w 1597949"/>
                <a:gd name="connsiteY87" fmla="*/ 209568 h 254396"/>
                <a:gd name="connsiteX88" fmla="*/ 120878 w 1597949"/>
                <a:gd name="connsiteY88" fmla="*/ 186781 h 254396"/>
                <a:gd name="connsiteX89" fmla="*/ 114204 w 1597949"/>
                <a:gd name="connsiteY89" fmla="*/ 172212 h 254396"/>
                <a:gd name="connsiteX90" fmla="*/ 81574 w 1597949"/>
                <a:gd name="connsiteY90" fmla="*/ 154655 h 254396"/>
                <a:gd name="connsiteX91" fmla="*/ 18910 w 1597949"/>
                <a:gd name="connsiteY91" fmla="*/ 120661 h 254396"/>
                <a:gd name="connsiteX92" fmla="*/ 0 w 1597949"/>
                <a:gd name="connsiteY92" fmla="*/ 73965 h 254396"/>
                <a:gd name="connsiteX93" fmla="*/ 27438 w 1597949"/>
                <a:gd name="connsiteY93" fmla="*/ 19052 h 254396"/>
                <a:gd name="connsiteX94" fmla="*/ 97518 w 1597949"/>
                <a:gd name="connsiteY94" fmla="*/ 0 h 254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597949" h="254396">
                  <a:moveTo>
                    <a:pt x="1157347" y="4931"/>
                  </a:moveTo>
                  <a:lnTo>
                    <a:pt x="1235941" y="4931"/>
                  </a:lnTo>
                  <a:lnTo>
                    <a:pt x="1319354" y="168700"/>
                  </a:lnTo>
                  <a:lnTo>
                    <a:pt x="1319354" y="4931"/>
                  </a:lnTo>
                  <a:lnTo>
                    <a:pt x="1366807" y="4931"/>
                  </a:lnTo>
                  <a:lnTo>
                    <a:pt x="1366807" y="249463"/>
                  </a:lnTo>
                  <a:lnTo>
                    <a:pt x="1291179" y="249463"/>
                  </a:lnTo>
                  <a:lnTo>
                    <a:pt x="1205170" y="83451"/>
                  </a:lnTo>
                  <a:lnTo>
                    <a:pt x="1205170" y="249463"/>
                  </a:lnTo>
                  <a:lnTo>
                    <a:pt x="1157347" y="249463"/>
                  </a:lnTo>
                  <a:close/>
                  <a:moveTo>
                    <a:pt x="936042" y="4931"/>
                  </a:moveTo>
                  <a:lnTo>
                    <a:pt x="1110117" y="4931"/>
                  </a:lnTo>
                  <a:lnTo>
                    <a:pt x="1110117" y="49052"/>
                  </a:lnTo>
                  <a:lnTo>
                    <a:pt x="1001367" y="49052"/>
                  </a:lnTo>
                  <a:lnTo>
                    <a:pt x="1001367" y="104015"/>
                  </a:lnTo>
                  <a:lnTo>
                    <a:pt x="1096013" y="104015"/>
                  </a:lnTo>
                  <a:lnTo>
                    <a:pt x="1096013" y="144771"/>
                  </a:lnTo>
                  <a:lnTo>
                    <a:pt x="1001367" y="144771"/>
                  </a:lnTo>
                  <a:lnTo>
                    <a:pt x="1001367" y="202725"/>
                  </a:lnTo>
                  <a:lnTo>
                    <a:pt x="1112716" y="202725"/>
                  </a:lnTo>
                  <a:lnTo>
                    <a:pt x="1112716" y="249463"/>
                  </a:lnTo>
                  <a:lnTo>
                    <a:pt x="936042" y="249463"/>
                  </a:lnTo>
                  <a:close/>
                  <a:moveTo>
                    <a:pt x="577034" y="4931"/>
                  </a:moveTo>
                  <a:lnTo>
                    <a:pt x="665266" y="4931"/>
                  </a:lnTo>
                  <a:lnTo>
                    <a:pt x="725949" y="160843"/>
                  </a:lnTo>
                  <a:lnTo>
                    <a:pt x="789611" y="4931"/>
                  </a:lnTo>
                  <a:lnTo>
                    <a:pt x="873375" y="4931"/>
                  </a:lnTo>
                  <a:lnTo>
                    <a:pt x="873375" y="248870"/>
                  </a:lnTo>
                  <a:lnTo>
                    <a:pt x="808225" y="248870"/>
                  </a:lnTo>
                  <a:lnTo>
                    <a:pt x="808225" y="75800"/>
                  </a:lnTo>
                  <a:lnTo>
                    <a:pt x="737118" y="251108"/>
                  </a:lnTo>
                  <a:lnTo>
                    <a:pt x="694677" y="251108"/>
                  </a:lnTo>
                  <a:lnTo>
                    <a:pt x="625059" y="75800"/>
                  </a:lnTo>
                  <a:lnTo>
                    <a:pt x="625059" y="248870"/>
                  </a:lnTo>
                  <a:lnTo>
                    <a:pt x="577034" y="248870"/>
                  </a:lnTo>
                  <a:close/>
                  <a:moveTo>
                    <a:pt x="355729" y="4931"/>
                  </a:moveTo>
                  <a:lnTo>
                    <a:pt x="530170" y="4931"/>
                  </a:lnTo>
                  <a:lnTo>
                    <a:pt x="530170" y="49052"/>
                  </a:lnTo>
                  <a:lnTo>
                    <a:pt x="420819" y="49052"/>
                  </a:lnTo>
                  <a:lnTo>
                    <a:pt x="420819" y="104015"/>
                  </a:lnTo>
                  <a:lnTo>
                    <a:pt x="516036" y="104015"/>
                  </a:lnTo>
                  <a:lnTo>
                    <a:pt x="516036" y="144771"/>
                  </a:lnTo>
                  <a:lnTo>
                    <a:pt x="420819" y="144771"/>
                  </a:lnTo>
                  <a:lnTo>
                    <a:pt x="420819" y="202725"/>
                  </a:lnTo>
                  <a:lnTo>
                    <a:pt x="532402" y="202725"/>
                  </a:lnTo>
                  <a:lnTo>
                    <a:pt x="532402" y="249463"/>
                  </a:lnTo>
                  <a:lnTo>
                    <a:pt x="355729" y="249463"/>
                  </a:lnTo>
                  <a:close/>
                  <a:moveTo>
                    <a:pt x="226224" y="4931"/>
                  </a:moveTo>
                  <a:lnTo>
                    <a:pt x="293068" y="4931"/>
                  </a:lnTo>
                  <a:lnTo>
                    <a:pt x="293068" y="249464"/>
                  </a:lnTo>
                  <a:lnTo>
                    <a:pt x="259646" y="249464"/>
                  </a:lnTo>
                  <a:lnTo>
                    <a:pt x="226224" y="249464"/>
                  </a:lnTo>
                  <a:close/>
                  <a:moveTo>
                    <a:pt x="1509330" y="0"/>
                  </a:moveTo>
                  <a:cubicBezTo>
                    <a:pt x="1525645" y="0"/>
                    <a:pt x="1546780" y="2230"/>
                    <a:pt x="1573106" y="7806"/>
                  </a:cubicBezTo>
                  <a:lnTo>
                    <a:pt x="1579039" y="8921"/>
                  </a:lnTo>
                  <a:lnTo>
                    <a:pt x="1579039" y="55011"/>
                  </a:lnTo>
                  <a:cubicBezTo>
                    <a:pt x="1556421" y="46090"/>
                    <a:pt x="1535285" y="41630"/>
                    <a:pt x="1516004" y="41630"/>
                  </a:cubicBezTo>
                  <a:cubicBezTo>
                    <a:pt x="1488565" y="41630"/>
                    <a:pt x="1475217" y="49064"/>
                    <a:pt x="1475217" y="63932"/>
                  </a:cubicBezTo>
                  <a:cubicBezTo>
                    <a:pt x="1475217" y="69507"/>
                    <a:pt x="1477812" y="73968"/>
                    <a:pt x="1483745" y="78056"/>
                  </a:cubicBezTo>
                  <a:cubicBezTo>
                    <a:pt x="1488195" y="81030"/>
                    <a:pt x="1500431" y="86977"/>
                    <a:pt x="1521195" y="96641"/>
                  </a:cubicBezTo>
                  <a:cubicBezTo>
                    <a:pt x="1550488" y="109279"/>
                    <a:pt x="1570511" y="120801"/>
                    <a:pt x="1580522" y="130837"/>
                  </a:cubicBezTo>
                  <a:cubicBezTo>
                    <a:pt x="1592017" y="142360"/>
                    <a:pt x="1597949" y="157228"/>
                    <a:pt x="1597949" y="175812"/>
                  </a:cubicBezTo>
                  <a:cubicBezTo>
                    <a:pt x="1597949" y="202203"/>
                    <a:pt x="1586455" y="221903"/>
                    <a:pt x="1563466" y="236027"/>
                  </a:cubicBezTo>
                  <a:cubicBezTo>
                    <a:pt x="1544555" y="247178"/>
                    <a:pt x="1520824" y="252753"/>
                    <a:pt x="1491532" y="252753"/>
                  </a:cubicBezTo>
                  <a:cubicBezTo>
                    <a:pt x="1466689" y="252753"/>
                    <a:pt x="1441475" y="249780"/>
                    <a:pt x="1415890" y="243833"/>
                  </a:cubicBezTo>
                  <a:lnTo>
                    <a:pt x="1415890" y="195884"/>
                  </a:lnTo>
                  <a:cubicBezTo>
                    <a:pt x="1442958" y="204433"/>
                    <a:pt x="1467059" y="208893"/>
                    <a:pt x="1488565" y="208893"/>
                  </a:cubicBezTo>
                  <a:cubicBezTo>
                    <a:pt x="1517487" y="208893"/>
                    <a:pt x="1532319" y="201459"/>
                    <a:pt x="1532319" y="186220"/>
                  </a:cubicBezTo>
                  <a:cubicBezTo>
                    <a:pt x="1532319" y="180273"/>
                    <a:pt x="1530465" y="175812"/>
                    <a:pt x="1526386" y="171724"/>
                  </a:cubicBezTo>
                  <a:cubicBezTo>
                    <a:pt x="1521937" y="167635"/>
                    <a:pt x="1510813" y="161688"/>
                    <a:pt x="1493015" y="154254"/>
                  </a:cubicBezTo>
                  <a:cubicBezTo>
                    <a:pt x="1461127" y="141245"/>
                    <a:pt x="1440362" y="129722"/>
                    <a:pt x="1430351" y="120430"/>
                  </a:cubicBezTo>
                  <a:cubicBezTo>
                    <a:pt x="1418115" y="108535"/>
                    <a:pt x="1411440" y="92552"/>
                    <a:pt x="1411440" y="73596"/>
                  </a:cubicBezTo>
                  <a:cubicBezTo>
                    <a:pt x="1411440" y="49807"/>
                    <a:pt x="1420339" y="31223"/>
                    <a:pt x="1438879" y="18957"/>
                  </a:cubicBezTo>
                  <a:cubicBezTo>
                    <a:pt x="1456677" y="6319"/>
                    <a:pt x="1480779" y="0"/>
                    <a:pt x="1509330" y="0"/>
                  </a:cubicBezTo>
                  <a:close/>
                  <a:moveTo>
                    <a:pt x="97518" y="0"/>
                  </a:moveTo>
                  <a:cubicBezTo>
                    <a:pt x="113463" y="0"/>
                    <a:pt x="136823" y="2989"/>
                    <a:pt x="166857" y="8966"/>
                  </a:cubicBezTo>
                  <a:lnTo>
                    <a:pt x="166857" y="55661"/>
                  </a:lnTo>
                  <a:cubicBezTo>
                    <a:pt x="144609" y="46695"/>
                    <a:pt x="123845" y="42213"/>
                    <a:pt x="104564" y="42213"/>
                  </a:cubicBezTo>
                  <a:cubicBezTo>
                    <a:pt x="77496" y="42213"/>
                    <a:pt x="64147" y="49684"/>
                    <a:pt x="64147" y="64626"/>
                  </a:cubicBezTo>
                  <a:cubicBezTo>
                    <a:pt x="64147" y="70230"/>
                    <a:pt x="67113" y="74712"/>
                    <a:pt x="72675" y="78448"/>
                  </a:cubicBezTo>
                  <a:cubicBezTo>
                    <a:pt x="77125" y="81437"/>
                    <a:pt x="89732" y="87414"/>
                    <a:pt x="109755" y="97126"/>
                  </a:cubicBezTo>
                  <a:cubicBezTo>
                    <a:pt x="139789" y="110201"/>
                    <a:pt x="159441" y="121408"/>
                    <a:pt x="169082" y="131494"/>
                  </a:cubicBezTo>
                  <a:cubicBezTo>
                    <a:pt x="180947" y="142701"/>
                    <a:pt x="186509" y="158017"/>
                    <a:pt x="186509" y="176695"/>
                  </a:cubicBezTo>
                  <a:cubicBezTo>
                    <a:pt x="186509" y="203218"/>
                    <a:pt x="175014" y="223016"/>
                    <a:pt x="152025" y="237212"/>
                  </a:cubicBezTo>
                  <a:cubicBezTo>
                    <a:pt x="133856" y="248792"/>
                    <a:pt x="109384" y="254396"/>
                    <a:pt x="80462" y="254396"/>
                  </a:cubicBezTo>
                  <a:cubicBezTo>
                    <a:pt x="55619" y="253648"/>
                    <a:pt x="30405" y="250660"/>
                    <a:pt x="4820" y="244683"/>
                  </a:cubicBezTo>
                  <a:lnTo>
                    <a:pt x="4820" y="196494"/>
                  </a:lnTo>
                  <a:cubicBezTo>
                    <a:pt x="32259" y="205085"/>
                    <a:pt x="56731" y="209568"/>
                    <a:pt x="77496" y="209568"/>
                  </a:cubicBezTo>
                  <a:cubicBezTo>
                    <a:pt x="106047" y="209568"/>
                    <a:pt x="120878" y="202097"/>
                    <a:pt x="120878" y="186781"/>
                  </a:cubicBezTo>
                  <a:cubicBezTo>
                    <a:pt x="120878" y="180804"/>
                    <a:pt x="119025" y="176321"/>
                    <a:pt x="114204" y="172212"/>
                  </a:cubicBezTo>
                  <a:cubicBezTo>
                    <a:pt x="109755" y="168103"/>
                    <a:pt x="99002" y="162126"/>
                    <a:pt x="81574" y="154655"/>
                  </a:cubicBezTo>
                  <a:cubicBezTo>
                    <a:pt x="49686" y="141580"/>
                    <a:pt x="28922" y="130000"/>
                    <a:pt x="18910" y="120661"/>
                  </a:cubicBezTo>
                  <a:cubicBezTo>
                    <a:pt x="6303" y="107959"/>
                    <a:pt x="0" y="92643"/>
                    <a:pt x="0" y="73965"/>
                  </a:cubicBezTo>
                  <a:cubicBezTo>
                    <a:pt x="0" y="50057"/>
                    <a:pt x="8899" y="31379"/>
                    <a:pt x="27438" y="19052"/>
                  </a:cubicBezTo>
                  <a:cubicBezTo>
                    <a:pt x="45237" y="6351"/>
                    <a:pt x="68967" y="0"/>
                    <a:pt x="97518" y="0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bevel/>
              <a:headEnd/>
              <a:tailEnd/>
            </a:ln>
            <a:effectLst/>
          </p:spPr>
          <p:txBody>
            <a:bodyPr wrap="square" anchor="ctr">
              <a:prstTxWarp prst="textNoShape">
                <a:avLst/>
              </a:prstTxWarp>
              <a:noAutofit/>
            </a:bodyPr>
            <a:lstStyle/>
            <a:p>
              <a:pPr marL="0" marR="0" lvl="0" indent="0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"/>
                <a:cs typeface=""/>
              </a:endParaRPr>
            </a:p>
          </p:txBody>
        </p:sp>
        <p:sp>
          <p:nvSpPr>
            <p:cNvPr id="51" name="Freihandform 50"/>
            <p:cNvSpPr>
              <a:spLocks noChangeArrowheads="1"/>
            </p:cNvSpPr>
            <p:nvPr/>
          </p:nvSpPr>
          <p:spPr bwMode="auto">
            <a:xfrm>
              <a:off x="481775" y="682626"/>
              <a:ext cx="2292197" cy="316856"/>
            </a:xfrm>
            <a:custGeom>
              <a:avLst/>
              <a:gdLst>
                <a:gd name="connsiteX0" fmla="*/ 561040 w 2292197"/>
                <a:gd name="connsiteY0" fmla="*/ 133276 h 316856"/>
                <a:gd name="connsiteX1" fmla="*/ 514756 w 2292197"/>
                <a:gd name="connsiteY1" fmla="*/ 208959 h 316856"/>
                <a:gd name="connsiteX2" fmla="*/ 553264 w 2292197"/>
                <a:gd name="connsiteY2" fmla="*/ 272711 h 316856"/>
                <a:gd name="connsiteX3" fmla="*/ 587329 w 2292197"/>
                <a:gd name="connsiteY3" fmla="*/ 241394 h 316856"/>
                <a:gd name="connsiteX4" fmla="*/ 587329 w 2292197"/>
                <a:gd name="connsiteY4" fmla="*/ 137750 h 316856"/>
                <a:gd name="connsiteX5" fmla="*/ 561040 w 2292197"/>
                <a:gd name="connsiteY5" fmla="*/ 133276 h 316856"/>
                <a:gd name="connsiteX6" fmla="*/ 1864005 w 2292197"/>
                <a:gd name="connsiteY6" fmla="*/ 131508 h 316856"/>
                <a:gd name="connsiteX7" fmla="*/ 1819277 w 2292197"/>
                <a:gd name="connsiteY7" fmla="*/ 188681 h 316856"/>
                <a:gd name="connsiteX8" fmla="*/ 1885623 w 2292197"/>
                <a:gd name="connsiteY8" fmla="*/ 152434 h 316856"/>
                <a:gd name="connsiteX9" fmla="*/ 1864005 w 2292197"/>
                <a:gd name="connsiteY9" fmla="*/ 131508 h 316856"/>
                <a:gd name="connsiteX10" fmla="*/ 1660732 w 2292197"/>
                <a:gd name="connsiteY10" fmla="*/ 131508 h 316856"/>
                <a:gd name="connsiteX11" fmla="*/ 1615632 w 2292197"/>
                <a:gd name="connsiteY11" fmla="*/ 188681 h 316856"/>
                <a:gd name="connsiteX12" fmla="*/ 1681977 w 2292197"/>
                <a:gd name="connsiteY12" fmla="*/ 152434 h 316856"/>
                <a:gd name="connsiteX13" fmla="*/ 1660732 w 2292197"/>
                <a:gd name="connsiteY13" fmla="*/ 131508 h 316856"/>
                <a:gd name="connsiteX14" fmla="*/ 351674 w 2292197"/>
                <a:gd name="connsiteY14" fmla="*/ 131508 h 316856"/>
                <a:gd name="connsiteX15" fmla="*/ 306574 w 2292197"/>
                <a:gd name="connsiteY15" fmla="*/ 188681 h 316856"/>
                <a:gd name="connsiteX16" fmla="*/ 372919 w 2292197"/>
                <a:gd name="connsiteY16" fmla="*/ 152434 h 316856"/>
                <a:gd name="connsiteX17" fmla="*/ 351674 w 2292197"/>
                <a:gd name="connsiteY17" fmla="*/ 131508 h 316856"/>
                <a:gd name="connsiteX18" fmla="*/ 1234395 w 2292197"/>
                <a:gd name="connsiteY18" fmla="*/ 96976 h 316856"/>
                <a:gd name="connsiteX19" fmla="*/ 1293037 w 2292197"/>
                <a:gd name="connsiteY19" fmla="*/ 96976 h 316856"/>
                <a:gd name="connsiteX20" fmla="*/ 1293037 w 2292197"/>
                <a:gd name="connsiteY20" fmla="*/ 310280 h 316856"/>
                <a:gd name="connsiteX21" fmla="*/ 1263529 w 2292197"/>
                <a:gd name="connsiteY21" fmla="*/ 310280 h 316856"/>
                <a:gd name="connsiteX22" fmla="*/ 1234395 w 2292197"/>
                <a:gd name="connsiteY22" fmla="*/ 310280 h 316856"/>
                <a:gd name="connsiteX23" fmla="*/ 2081174 w 2292197"/>
                <a:gd name="connsiteY23" fmla="*/ 90402 h 316856"/>
                <a:gd name="connsiteX24" fmla="*/ 2115969 w 2292197"/>
                <a:gd name="connsiteY24" fmla="*/ 97838 h 316856"/>
                <a:gd name="connsiteX25" fmla="*/ 2105604 w 2292197"/>
                <a:gd name="connsiteY25" fmla="*/ 148028 h 316856"/>
                <a:gd name="connsiteX26" fmla="*/ 2075991 w 2292197"/>
                <a:gd name="connsiteY26" fmla="*/ 140593 h 316856"/>
                <a:gd name="connsiteX27" fmla="*/ 2040826 w 2292197"/>
                <a:gd name="connsiteY27" fmla="*/ 176656 h 316856"/>
                <a:gd name="connsiteX28" fmla="*/ 2040826 w 2292197"/>
                <a:gd name="connsiteY28" fmla="*/ 308638 h 316856"/>
                <a:gd name="connsiteX29" fmla="*/ 1982710 w 2292197"/>
                <a:gd name="connsiteY29" fmla="*/ 308638 h 316856"/>
                <a:gd name="connsiteX30" fmla="*/ 1982710 w 2292197"/>
                <a:gd name="connsiteY30" fmla="*/ 133157 h 316856"/>
                <a:gd name="connsiteX31" fmla="*/ 1978638 w 2292197"/>
                <a:gd name="connsiteY31" fmla="*/ 96351 h 316856"/>
                <a:gd name="connsiteX32" fmla="*/ 2025649 w 2292197"/>
                <a:gd name="connsiteY32" fmla="*/ 96351 h 316856"/>
                <a:gd name="connsiteX33" fmla="*/ 2031202 w 2292197"/>
                <a:gd name="connsiteY33" fmla="*/ 126837 h 316856"/>
                <a:gd name="connsiteX34" fmla="*/ 2081174 w 2292197"/>
                <a:gd name="connsiteY34" fmla="*/ 90402 h 316856"/>
                <a:gd name="connsiteX35" fmla="*/ 1866986 w 2292197"/>
                <a:gd name="connsiteY35" fmla="*/ 90402 h 316856"/>
                <a:gd name="connsiteX36" fmla="*/ 1937059 w 2292197"/>
                <a:gd name="connsiteY36" fmla="*/ 152060 h 316856"/>
                <a:gd name="connsiteX37" fmla="*/ 1821141 w 2292197"/>
                <a:gd name="connsiteY37" fmla="*/ 230534 h 316856"/>
                <a:gd name="connsiteX38" fmla="*/ 1869595 w 2292197"/>
                <a:gd name="connsiteY38" fmla="*/ 272013 h 316856"/>
                <a:gd name="connsiteX39" fmla="*/ 1922150 w 2292197"/>
                <a:gd name="connsiteY39" fmla="*/ 254076 h 316856"/>
                <a:gd name="connsiteX40" fmla="*/ 1938923 w 2292197"/>
                <a:gd name="connsiteY40" fmla="*/ 293313 h 316856"/>
                <a:gd name="connsiteX41" fmla="*/ 1862141 w 2292197"/>
                <a:gd name="connsiteY41" fmla="*/ 316855 h 316856"/>
                <a:gd name="connsiteX42" fmla="*/ 1762250 w 2292197"/>
                <a:gd name="connsiteY42" fmla="*/ 208487 h 316856"/>
                <a:gd name="connsiteX43" fmla="*/ 1866986 w 2292197"/>
                <a:gd name="connsiteY43" fmla="*/ 90402 h 316856"/>
                <a:gd name="connsiteX44" fmla="*/ 1663713 w 2292197"/>
                <a:gd name="connsiteY44" fmla="*/ 90402 h 316856"/>
                <a:gd name="connsiteX45" fmla="*/ 1733413 w 2292197"/>
                <a:gd name="connsiteY45" fmla="*/ 152060 h 316856"/>
                <a:gd name="connsiteX46" fmla="*/ 1617868 w 2292197"/>
                <a:gd name="connsiteY46" fmla="*/ 230534 h 316856"/>
                <a:gd name="connsiteX47" fmla="*/ 1666322 w 2292197"/>
                <a:gd name="connsiteY47" fmla="*/ 272013 h 316856"/>
                <a:gd name="connsiteX48" fmla="*/ 1718504 w 2292197"/>
                <a:gd name="connsiteY48" fmla="*/ 254076 h 316856"/>
                <a:gd name="connsiteX49" fmla="*/ 1735650 w 2292197"/>
                <a:gd name="connsiteY49" fmla="*/ 293313 h 316856"/>
                <a:gd name="connsiteX50" fmla="*/ 1658495 w 2292197"/>
                <a:gd name="connsiteY50" fmla="*/ 316855 h 316856"/>
                <a:gd name="connsiteX51" fmla="*/ 1558977 w 2292197"/>
                <a:gd name="connsiteY51" fmla="*/ 208487 h 316856"/>
                <a:gd name="connsiteX52" fmla="*/ 1663713 w 2292197"/>
                <a:gd name="connsiteY52" fmla="*/ 90402 h 316856"/>
                <a:gd name="connsiteX53" fmla="*/ 1457145 w 2292197"/>
                <a:gd name="connsiteY53" fmla="*/ 90402 h 316856"/>
                <a:gd name="connsiteX54" fmla="*/ 1524180 w 2292197"/>
                <a:gd name="connsiteY54" fmla="*/ 164015 h 316856"/>
                <a:gd name="connsiteX55" fmla="*/ 1524180 w 2292197"/>
                <a:gd name="connsiteY55" fmla="*/ 308638 h 316856"/>
                <a:gd name="connsiteX56" fmla="*/ 1465710 w 2292197"/>
                <a:gd name="connsiteY56" fmla="*/ 308638 h 316856"/>
                <a:gd name="connsiteX57" fmla="*/ 1465710 w 2292197"/>
                <a:gd name="connsiteY57" fmla="*/ 174797 h 316856"/>
                <a:gd name="connsiteX58" fmla="*/ 1439641 w 2292197"/>
                <a:gd name="connsiteY58" fmla="*/ 134644 h 316856"/>
                <a:gd name="connsiteX59" fmla="*/ 1403516 w 2292197"/>
                <a:gd name="connsiteY59" fmla="*/ 172566 h 316856"/>
                <a:gd name="connsiteX60" fmla="*/ 1403516 w 2292197"/>
                <a:gd name="connsiteY60" fmla="*/ 308638 h 316856"/>
                <a:gd name="connsiteX61" fmla="*/ 1345047 w 2292197"/>
                <a:gd name="connsiteY61" fmla="*/ 308638 h 316856"/>
                <a:gd name="connsiteX62" fmla="*/ 1345047 w 2292197"/>
                <a:gd name="connsiteY62" fmla="*/ 135760 h 316856"/>
                <a:gd name="connsiteX63" fmla="*/ 1340950 w 2292197"/>
                <a:gd name="connsiteY63" fmla="*/ 96351 h 316856"/>
                <a:gd name="connsiteX64" fmla="*/ 1389737 w 2292197"/>
                <a:gd name="connsiteY64" fmla="*/ 96351 h 316856"/>
                <a:gd name="connsiteX65" fmla="*/ 1393834 w 2292197"/>
                <a:gd name="connsiteY65" fmla="*/ 121632 h 316856"/>
                <a:gd name="connsiteX66" fmla="*/ 1457145 w 2292197"/>
                <a:gd name="connsiteY66" fmla="*/ 90402 h 316856"/>
                <a:gd name="connsiteX67" fmla="*/ 568075 w 2292197"/>
                <a:gd name="connsiteY67" fmla="*/ 90402 h 316856"/>
                <a:gd name="connsiteX68" fmla="*/ 644721 w 2292197"/>
                <a:gd name="connsiteY68" fmla="*/ 105688 h 316856"/>
                <a:gd name="connsiteX69" fmla="*/ 644721 w 2292197"/>
                <a:gd name="connsiteY69" fmla="*/ 266746 h 316856"/>
                <a:gd name="connsiteX70" fmla="*/ 648794 w 2292197"/>
                <a:gd name="connsiteY70" fmla="*/ 309247 h 316856"/>
                <a:gd name="connsiteX71" fmla="*/ 599178 w 2292197"/>
                <a:gd name="connsiteY71" fmla="*/ 309247 h 316856"/>
                <a:gd name="connsiteX72" fmla="*/ 596215 w 2292197"/>
                <a:gd name="connsiteY72" fmla="*/ 287624 h 316856"/>
                <a:gd name="connsiteX73" fmla="*/ 594364 w 2292197"/>
                <a:gd name="connsiteY73" fmla="*/ 287251 h 316856"/>
                <a:gd name="connsiteX74" fmla="*/ 538083 w 2292197"/>
                <a:gd name="connsiteY74" fmla="*/ 315212 h 316856"/>
                <a:gd name="connsiteX75" fmla="*/ 457365 w 2292197"/>
                <a:gd name="connsiteY75" fmla="*/ 212314 h 316856"/>
                <a:gd name="connsiteX76" fmla="*/ 568075 w 2292197"/>
                <a:gd name="connsiteY76" fmla="*/ 90402 h 316856"/>
                <a:gd name="connsiteX77" fmla="*/ 353910 w 2292197"/>
                <a:gd name="connsiteY77" fmla="*/ 90402 h 316856"/>
                <a:gd name="connsiteX78" fmla="*/ 423983 w 2292197"/>
                <a:gd name="connsiteY78" fmla="*/ 152060 h 316856"/>
                <a:gd name="connsiteX79" fmla="*/ 308065 w 2292197"/>
                <a:gd name="connsiteY79" fmla="*/ 230534 h 316856"/>
                <a:gd name="connsiteX80" fmla="*/ 356519 w 2292197"/>
                <a:gd name="connsiteY80" fmla="*/ 272013 h 316856"/>
                <a:gd name="connsiteX81" fmla="*/ 409073 w 2292197"/>
                <a:gd name="connsiteY81" fmla="*/ 254076 h 316856"/>
                <a:gd name="connsiteX82" fmla="*/ 425846 w 2292197"/>
                <a:gd name="connsiteY82" fmla="*/ 293313 h 316856"/>
                <a:gd name="connsiteX83" fmla="*/ 349065 w 2292197"/>
                <a:gd name="connsiteY83" fmla="*/ 316855 h 316856"/>
                <a:gd name="connsiteX84" fmla="*/ 249174 w 2292197"/>
                <a:gd name="connsiteY84" fmla="*/ 208487 h 316856"/>
                <a:gd name="connsiteX85" fmla="*/ 353910 w 2292197"/>
                <a:gd name="connsiteY85" fmla="*/ 90402 h 316856"/>
                <a:gd name="connsiteX86" fmla="*/ 2208041 w 2292197"/>
                <a:gd name="connsiteY86" fmla="*/ 90249 h 316856"/>
                <a:gd name="connsiteX87" fmla="*/ 2277182 w 2292197"/>
                <a:gd name="connsiteY87" fmla="*/ 108139 h 316856"/>
                <a:gd name="connsiteX88" fmla="*/ 2277182 w 2292197"/>
                <a:gd name="connsiteY88" fmla="*/ 108512 h 316856"/>
                <a:gd name="connsiteX89" fmla="*/ 2259711 w 2292197"/>
                <a:gd name="connsiteY89" fmla="*/ 148764 h 316856"/>
                <a:gd name="connsiteX90" fmla="*/ 2213245 w 2292197"/>
                <a:gd name="connsiteY90" fmla="*/ 131620 h 316856"/>
                <a:gd name="connsiteX91" fmla="*/ 2189455 w 2292197"/>
                <a:gd name="connsiteY91" fmla="*/ 152119 h 316856"/>
                <a:gd name="connsiteX92" fmla="*/ 2224025 w 2292197"/>
                <a:gd name="connsiteY92" fmla="*/ 177836 h 316856"/>
                <a:gd name="connsiteX93" fmla="*/ 2292050 w 2292197"/>
                <a:gd name="connsiteY93" fmla="*/ 238960 h 316856"/>
                <a:gd name="connsiteX94" fmla="*/ 2214360 w 2292197"/>
                <a:gd name="connsiteY94" fmla="*/ 314993 h 316856"/>
                <a:gd name="connsiteX95" fmla="*/ 2133325 w 2292197"/>
                <a:gd name="connsiteY95" fmla="*/ 297103 h 316856"/>
                <a:gd name="connsiteX96" fmla="*/ 2150796 w 2292197"/>
                <a:gd name="connsiteY96" fmla="*/ 257223 h 316856"/>
                <a:gd name="connsiteX97" fmla="*/ 2208784 w 2292197"/>
                <a:gd name="connsiteY97" fmla="*/ 272504 h 316856"/>
                <a:gd name="connsiteX98" fmla="*/ 2234433 w 2292197"/>
                <a:gd name="connsiteY98" fmla="*/ 249023 h 316856"/>
                <a:gd name="connsiteX99" fmla="*/ 2199863 w 2292197"/>
                <a:gd name="connsiteY99" fmla="*/ 224424 h 316856"/>
                <a:gd name="connsiteX100" fmla="*/ 2133325 w 2292197"/>
                <a:gd name="connsiteY100" fmla="*/ 162555 h 316856"/>
                <a:gd name="connsiteX101" fmla="*/ 2208041 w 2292197"/>
                <a:gd name="connsiteY101" fmla="*/ 90249 h 316856"/>
                <a:gd name="connsiteX102" fmla="*/ 1004892 w 2292197"/>
                <a:gd name="connsiteY102" fmla="*/ 31230 h 316856"/>
                <a:gd name="connsiteX103" fmla="*/ 1063095 w 2292197"/>
                <a:gd name="connsiteY103" fmla="*/ 31230 h 316856"/>
                <a:gd name="connsiteX104" fmla="*/ 1063095 w 2292197"/>
                <a:gd name="connsiteY104" fmla="*/ 112822 h 316856"/>
                <a:gd name="connsiteX105" fmla="*/ 1115736 w 2292197"/>
                <a:gd name="connsiteY105" fmla="*/ 90841 h 316856"/>
                <a:gd name="connsiteX106" fmla="*/ 1183207 w 2292197"/>
                <a:gd name="connsiteY106" fmla="*/ 165727 h 316856"/>
                <a:gd name="connsiteX107" fmla="*/ 1183207 w 2292197"/>
                <a:gd name="connsiteY107" fmla="*/ 310283 h 316856"/>
                <a:gd name="connsiteX108" fmla="*/ 1125004 w 2292197"/>
                <a:gd name="connsiteY108" fmla="*/ 310283 h 316856"/>
                <a:gd name="connsiteX109" fmla="*/ 1125004 w 2292197"/>
                <a:gd name="connsiteY109" fmla="*/ 174668 h 316856"/>
                <a:gd name="connsiteX110" fmla="*/ 1098313 w 2292197"/>
                <a:gd name="connsiteY110" fmla="*/ 136294 h 316856"/>
                <a:gd name="connsiteX111" fmla="*/ 1062353 w 2292197"/>
                <a:gd name="connsiteY111" fmla="*/ 173178 h 316856"/>
                <a:gd name="connsiteX112" fmla="*/ 1062353 w 2292197"/>
                <a:gd name="connsiteY112" fmla="*/ 310283 h 316856"/>
                <a:gd name="connsiteX113" fmla="*/ 1004892 w 2292197"/>
                <a:gd name="connsiteY113" fmla="*/ 310283 h 316856"/>
                <a:gd name="connsiteX114" fmla="*/ 842391 w 2292197"/>
                <a:gd name="connsiteY114" fmla="*/ 31230 h 316856"/>
                <a:gd name="connsiteX115" fmla="*/ 900136 w 2292197"/>
                <a:gd name="connsiteY115" fmla="*/ 31230 h 316856"/>
                <a:gd name="connsiteX116" fmla="*/ 900136 w 2292197"/>
                <a:gd name="connsiteY116" fmla="*/ 97603 h 316856"/>
                <a:gd name="connsiteX117" fmla="*/ 954920 w 2292197"/>
                <a:gd name="connsiteY117" fmla="*/ 97603 h 316856"/>
                <a:gd name="connsiteX118" fmla="*/ 954920 w 2292197"/>
                <a:gd name="connsiteY118" fmla="*/ 143467 h 316856"/>
                <a:gd name="connsiteX119" fmla="*/ 900877 w 2292197"/>
                <a:gd name="connsiteY119" fmla="*/ 143467 h 316856"/>
                <a:gd name="connsiteX120" fmla="*/ 900877 w 2292197"/>
                <a:gd name="connsiteY120" fmla="*/ 238551 h 316856"/>
                <a:gd name="connsiteX121" fmla="*/ 921236 w 2292197"/>
                <a:gd name="connsiteY121" fmla="*/ 270992 h 316856"/>
                <a:gd name="connsiteX122" fmla="*/ 946407 w 2292197"/>
                <a:gd name="connsiteY122" fmla="*/ 264653 h 316856"/>
                <a:gd name="connsiteX123" fmla="*/ 958622 w 2292197"/>
                <a:gd name="connsiteY123" fmla="*/ 303433 h 316856"/>
                <a:gd name="connsiteX124" fmla="*/ 905689 w 2292197"/>
                <a:gd name="connsiteY124" fmla="*/ 316856 h 316856"/>
                <a:gd name="connsiteX125" fmla="*/ 842391 w 2292197"/>
                <a:gd name="connsiteY125" fmla="*/ 247128 h 316856"/>
                <a:gd name="connsiteX126" fmla="*/ 842391 w 2292197"/>
                <a:gd name="connsiteY126" fmla="*/ 143467 h 316856"/>
                <a:gd name="connsiteX127" fmla="*/ 809816 w 2292197"/>
                <a:gd name="connsiteY127" fmla="*/ 143467 h 316856"/>
                <a:gd name="connsiteX128" fmla="*/ 809816 w 2292197"/>
                <a:gd name="connsiteY128" fmla="*/ 97603 h 316856"/>
                <a:gd name="connsiteX129" fmla="*/ 842391 w 2292197"/>
                <a:gd name="connsiteY129" fmla="*/ 97603 h 316856"/>
                <a:gd name="connsiteX130" fmla="*/ 698343 w 2292197"/>
                <a:gd name="connsiteY130" fmla="*/ 31230 h 316856"/>
                <a:gd name="connsiteX131" fmla="*/ 756722 w 2292197"/>
                <a:gd name="connsiteY131" fmla="*/ 31230 h 316856"/>
                <a:gd name="connsiteX132" fmla="*/ 756722 w 2292197"/>
                <a:gd name="connsiteY132" fmla="*/ 238449 h 316856"/>
                <a:gd name="connsiteX133" fmla="*/ 777045 w 2292197"/>
                <a:gd name="connsiteY133" fmla="*/ 270932 h 316856"/>
                <a:gd name="connsiteX134" fmla="*/ 802170 w 2292197"/>
                <a:gd name="connsiteY134" fmla="*/ 264584 h 316856"/>
                <a:gd name="connsiteX135" fmla="*/ 814364 w 2292197"/>
                <a:gd name="connsiteY135" fmla="*/ 303415 h 316856"/>
                <a:gd name="connsiteX136" fmla="*/ 761895 w 2292197"/>
                <a:gd name="connsiteY136" fmla="*/ 316856 h 316856"/>
                <a:gd name="connsiteX137" fmla="*/ 698343 w 2292197"/>
                <a:gd name="connsiteY137" fmla="*/ 247036 h 316856"/>
                <a:gd name="connsiteX138" fmla="*/ 0 w 2292197"/>
                <a:gd name="connsiteY138" fmla="*/ 31230 h 316856"/>
                <a:gd name="connsiteX139" fmla="*/ 59654 w 2292197"/>
                <a:gd name="connsiteY139" fmla="*/ 31230 h 316856"/>
                <a:gd name="connsiteX140" fmla="*/ 59654 w 2292197"/>
                <a:gd name="connsiteY140" fmla="*/ 142255 h 316856"/>
                <a:gd name="connsiteX141" fmla="*/ 145779 w 2292197"/>
                <a:gd name="connsiteY141" fmla="*/ 142255 h 316856"/>
                <a:gd name="connsiteX142" fmla="*/ 145779 w 2292197"/>
                <a:gd name="connsiteY142" fmla="*/ 31230 h 316856"/>
                <a:gd name="connsiteX143" fmla="*/ 206179 w 2292197"/>
                <a:gd name="connsiteY143" fmla="*/ 31230 h 316856"/>
                <a:gd name="connsiteX144" fmla="*/ 206179 w 2292197"/>
                <a:gd name="connsiteY144" fmla="*/ 310283 h 316856"/>
                <a:gd name="connsiteX145" fmla="*/ 145779 w 2292197"/>
                <a:gd name="connsiteY145" fmla="*/ 310283 h 316856"/>
                <a:gd name="connsiteX146" fmla="*/ 145779 w 2292197"/>
                <a:gd name="connsiteY146" fmla="*/ 194787 h 316856"/>
                <a:gd name="connsiteX147" fmla="*/ 59654 w 2292197"/>
                <a:gd name="connsiteY147" fmla="*/ 194787 h 316856"/>
                <a:gd name="connsiteX148" fmla="*/ 59654 w 2292197"/>
                <a:gd name="connsiteY148" fmla="*/ 310283 h 316856"/>
                <a:gd name="connsiteX149" fmla="*/ 0 w 2292197"/>
                <a:gd name="connsiteY149" fmla="*/ 310283 h 316856"/>
                <a:gd name="connsiteX150" fmla="*/ 1262898 w 2292197"/>
                <a:gd name="connsiteY150" fmla="*/ 0 h 316856"/>
                <a:gd name="connsiteX151" fmla="*/ 1294680 w 2292197"/>
                <a:gd name="connsiteY151" fmla="*/ 30408 h 316856"/>
                <a:gd name="connsiteX152" fmla="*/ 1262898 w 2292197"/>
                <a:gd name="connsiteY152" fmla="*/ 60442 h 316856"/>
                <a:gd name="connsiteX153" fmla="*/ 1231116 w 2292197"/>
                <a:gd name="connsiteY153" fmla="*/ 30408 h 316856"/>
                <a:gd name="connsiteX154" fmla="*/ 1262898 w 2292197"/>
                <a:gd name="connsiteY154" fmla="*/ 0 h 316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2292197" h="316856">
                  <a:moveTo>
                    <a:pt x="561040" y="133276"/>
                  </a:moveTo>
                  <a:cubicBezTo>
                    <a:pt x="526975" y="133276"/>
                    <a:pt x="514756" y="167576"/>
                    <a:pt x="514756" y="208959"/>
                  </a:cubicBezTo>
                  <a:cubicBezTo>
                    <a:pt x="514756" y="242885"/>
                    <a:pt x="522532" y="272711"/>
                    <a:pt x="553264" y="272711"/>
                  </a:cubicBezTo>
                  <a:cubicBezTo>
                    <a:pt x="575110" y="272711"/>
                    <a:pt x="587329" y="256680"/>
                    <a:pt x="587329" y="241394"/>
                  </a:cubicBezTo>
                  <a:lnTo>
                    <a:pt x="587329" y="137750"/>
                  </a:lnTo>
                  <a:cubicBezTo>
                    <a:pt x="581775" y="135140"/>
                    <a:pt x="572148" y="133276"/>
                    <a:pt x="561040" y="133276"/>
                  </a:cubicBezTo>
                  <a:close/>
                  <a:moveTo>
                    <a:pt x="1864005" y="131508"/>
                  </a:moveTo>
                  <a:cubicBezTo>
                    <a:pt x="1835677" y="131508"/>
                    <a:pt x="1820768" y="159908"/>
                    <a:pt x="1819277" y="188681"/>
                  </a:cubicBezTo>
                  <a:cubicBezTo>
                    <a:pt x="1846486" y="187934"/>
                    <a:pt x="1885623" y="181208"/>
                    <a:pt x="1885623" y="152434"/>
                  </a:cubicBezTo>
                  <a:cubicBezTo>
                    <a:pt x="1885623" y="139355"/>
                    <a:pt x="1877795" y="131508"/>
                    <a:pt x="1864005" y="131508"/>
                  </a:cubicBezTo>
                  <a:close/>
                  <a:moveTo>
                    <a:pt x="1660732" y="131508"/>
                  </a:moveTo>
                  <a:cubicBezTo>
                    <a:pt x="1632032" y="131508"/>
                    <a:pt x="1617123" y="159908"/>
                    <a:pt x="1615632" y="188681"/>
                  </a:cubicBezTo>
                  <a:cubicBezTo>
                    <a:pt x="1643213" y="187934"/>
                    <a:pt x="1681977" y="181208"/>
                    <a:pt x="1681977" y="152434"/>
                  </a:cubicBezTo>
                  <a:cubicBezTo>
                    <a:pt x="1681977" y="139355"/>
                    <a:pt x="1673777" y="131508"/>
                    <a:pt x="1660732" y="131508"/>
                  </a:cubicBezTo>
                  <a:close/>
                  <a:moveTo>
                    <a:pt x="351674" y="131508"/>
                  </a:moveTo>
                  <a:cubicBezTo>
                    <a:pt x="322974" y="131508"/>
                    <a:pt x="308065" y="159908"/>
                    <a:pt x="306574" y="188681"/>
                  </a:cubicBezTo>
                  <a:cubicBezTo>
                    <a:pt x="334155" y="187934"/>
                    <a:pt x="372919" y="181208"/>
                    <a:pt x="372919" y="152434"/>
                  </a:cubicBezTo>
                  <a:cubicBezTo>
                    <a:pt x="372919" y="139355"/>
                    <a:pt x="364719" y="131508"/>
                    <a:pt x="351674" y="131508"/>
                  </a:cubicBezTo>
                  <a:close/>
                  <a:moveTo>
                    <a:pt x="1234395" y="96976"/>
                  </a:moveTo>
                  <a:lnTo>
                    <a:pt x="1293037" y="96976"/>
                  </a:lnTo>
                  <a:lnTo>
                    <a:pt x="1293037" y="310280"/>
                  </a:lnTo>
                  <a:lnTo>
                    <a:pt x="1263529" y="310280"/>
                  </a:lnTo>
                  <a:lnTo>
                    <a:pt x="1234395" y="310280"/>
                  </a:lnTo>
                  <a:close/>
                  <a:moveTo>
                    <a:pt x="2081174" y="90402"/>
                  </a:moveTo>
                  <a:cubicBezTo>
                    <a:pt x="2093389" y="90402"/>
                    <a:pt x="2105975" y="92261"/>
                    <a:pt x="2115969" y="97838"/>
                  </a:cubicBezTo>
                  <a:lnTo>
                    <a:pt x="2105604" y="148028"/>
                  </a:lnTo>
                  <a:cubicBezTo>
                    <a:pt x="2096721" y="143567"/>
                    <a:pt x="2086726" y="140593"/>
                    <a:pt x="2075991" y="140593"/>
                  </a:cubicBezTo>
                  <a:cubicBezTo>
                    <a:pt x="2054892" y="140593"/>
                    <a:pt x="2041566" y="154720"/>
                    <a:pt x="2040826" y="176656"/>
                  </a:cubicBezTo>
                  <a:lnTo>
                    <a:pt x="2040826" y="308638"/>
                  </a:lnTo>
                  <a:lnTo>
                    <a:pt x="1982710" y="308638"/>
                  </a:lnTo>
                  <a:lnTo>
                    <a:pt x="1982710" y="133157"/>
                  </a:lnTo>
                  <a:lnTo>
                    <a:pt x="1978638" y="96351"/>
                  </a:lnTo>
                  <a:lnTo>
                    <a:pt x="2025649" y="96351"/>
                  </a:lnTo>
                  <a:lnTo>
                    <a:pt x="2031202" y="126837"/>
                  </a:lnTo>
                  <a:cubicBezTo>
                    <a:pt x="2041196" y="102299"/>
                    <a:pt x="2061555" y="90402"/>
                    <a:pt x="2081174" y="90402"/>
                  </a:cubicBezTo>
                  <a:close/>
                  <a:moveTo>
                    <a:pt x="1866986" y="90402"/>
                  </a:moveTo>
                  <a:cubicBezTo>
                    <a:pt x="1909477" y="90402"/>
                    <a:pt x="1937059" y="111702"/>
                    <a:pt x="1937059" y="152060"/>
                  </a:cubicBezTo>
                  <a:cubicBezTo>
                    <a:pt x="1937059" y="215213"/>
                    <a:pt x="1872577" y="227545"/>
                    <a:pt x="1821141" y="230534"/>
                  </a:cubicBezTo>
                  <a:cubicBezTo>
                    <a:pt x="1824123" y="250713"/>
                    <a:pt x="1837541" y="272013"/>
                    <a:pt x="1869595" y="272013"/>
                  </a:cubicBezTo>
                  <a:cubicBezTo>
                    <a:pt x="1891959" y="272013"/>
                    <a:pt x="1910223" y="262297"/>
                    <a:pt x="1922150" y="254076"/>
                  </a:cubicBezTo>
                  <a:lnTo>
                    <a:pt x="1938923" y="293313"/>
                  </a:lnTo>
                  <a:cubicBezTo>
                    <a:pt x="1934077" y="297050"/>
                    <a:pt x="1904632" y="316855"/>
                    <a:pt x="1862141" y="316855"/>
                  </a:cubicBezTo>
                  <a:cubicBezTo>
                    <a:pt x="1790577" y="316855"/>
                    <a:pt x="1762250" y="271640"/>
                    <a:pt x="1762250" y="208487"/>
                  </a:cubicBezTo>
                  <a:cubicBezTo>
                    <a:pt x="1762250" y="146829"/>
                    <a:pt x="1798405" y="90402"/>
                    <a:pt x="1866986" y="90402"/>
                  </a:cubicBezTo>
                  <a:close/>
                  <a:moveTo>
                    <a:pt x="1663713" y="90402"/>
                  </a:moveTo>
                  <a:cubicBezTo>
                    <a:pt x="1706204" y="90402"/>
                    <a:pt x="1733413" y="111702"/>
                    <a:pt x="1733413" y="152060"/>
                  </a:cubicBezTo>
                  <a:cubicBezTo>
                    <a:pt x="1733413" y="215213"/>
                    <a:pt x="1669304" y="227545"/>
                    <a:pt x="1617868" y="230534"/>
                  </a:cubicBezTo>
                  <a:cubicBezTo>
                    <a:pt x="1620850" y="250713"/>
                    <a:pt x="1634268" y="272013"/>
                    <a:pt x="1666322" y="272013"/>
                  </a:cubicBezTo>
                  <a:cubicBezTo>
                    <a:pt x="1688686" y="272013"/>
                    <a:pt x="1706577" y="262297"/>
                    <a:pt x="1718504" y="254076"/>
                  </a:cubicBezTo>
                  <a:lnTo>
                    <a:pt x="1735650" y="293313"/>
                  </a:lnTo>
                  <a:cubicBezTo>
                    <a:pt x="1730431" y="297050"/>
                    <a:pt x="1700986" y="316855"/>
                    <a:pt x="1658495" y="316855"/>
                  </a:cubicBezTo>
                  <a:cubicBezTo>
                    <a:pt x="1587304" y="316855"/>
                    <a:pt x="1558977" y="271640"/>
                    <a:pt x="1558977" y="208487"/>
                  </a:cubicBezTo>
                  <a:cubicBezTo>
                    <a:pt x="1558977" y="146829"/>
                    <a:pt x="1594759" y="90402"/>
                    <a:pt x="1663713" y="90402"/>
                  </a:cubicBezTo>
                  <a:close/>
                  <a:moveTo>
                    <a:pt x="1457145" y="90402"/>
                  </a:moveTo>
                  <a:cubicBezTo>
                    <a:pt x="1498483" y="90402"/>
                    <a:pt x="1524180" y="113824"/>
                    <a:pt x="1524180" y="164015"/>
                  </a:cubicBezTo>
                  <a:lnTo>
                    <a:pt x="1524180" y="308638"/>
                  </a:lnTo>
                  <a:lnTo>
                    <a:pt x="1465710" y="308638"/>
                  </a:lnTo>
                  <a:lnTo>
                    <a:pt x="1465710" y="174797"/>
                  </a:lnTo>
                  <a:cubicBezTo>
                    <a:pt x="1465710" y="152118"/>
                    <a:pt x="1462358" y="134644"/>
                    <a:pt x="1439641" y="134644"/>
                  </a:cubicBezTo>
                  <a:cubicBezTo>
                    <a:pt x="1417668" y="134644"/>
                    <a:pt x="1403516" y="152490"/>
                    <a:pt x="1403516" y="172566"/>
                  </a:cubicBezTo>
                  <a:lnTo>
                    <a:pt x="1403516" y="308638"/>
                  </a:lnTo>
                  <a:lnTo>
                    <a:pt x="1345047" y="308638"/>
                  </a:lnTo>
                  <a:lnTo>
                    <a:pt x="1345047" y="135760"/>
                  </a:lnTo>
                  <a:lnTo>
                    <a:pt x="1340950" y="96351"/>
                  </a:lnTo>
                  <a:lnTo>
                    <a:pt x="1389737" y="96351"/>
                  </a:lnTo>
                  <a:lnTo>
                    <a:pt x="1393834" y="121632"/>
                  </a:lnTo>
                  <a:cubicBezTo>
                    <a:pt x="1407985" y="102299"/>
                    <a:pt x="1429213" y="90402"/>
                    <a:pt x="1457145" y="90402"/>
                  </a:cubicBezTo>
                  <a:close/>
                  <a:moveTo>
                    <a:pt x="568075" y="90402"/>
                  </a:moveTo>
                  <a:cubicBezTo>
                    <a:pt x="582516" y="90402"/>
                    <a:pt x="613248" y="93758"/>
                    <a:pt x="644721" y="105688"/>
                  </a:cubicBezTo>
                  <a:lnTo>
                    <a:pt x="644721" y="266746"/>
                  </a:lnTo>
                  <a:lnTo>
                    <a:pt x="648794" y="309247"/>
                  </a:lnTo>
                  <a:lnTo>
                    <a:pt x="599178" y="309247"/>
                  </a:lnTo>
                  <a:lnTo>
                    <a:pt x="596215" y="287624"/>
                  </a:lnTo>
                  <a:lnTo>
                    <a:pt x="594364" y="287251"/>
                  </a:lnTo>
                  <a:cubicBezTo>
                    <a:pt x="581775" y="306637"/>
                    <a:pt x="560670" y="315212"/>
                    <a:pt x="538083" y="315212"/>
                  </a:cubicBezTo>
                  <a:cubicBezTo>
                    <a:pt x="477730" y="315212"/>
                    <a:pt x="457365" y="269356"/>
                    <a:pt x="457365" y="212314"/>
                  </a:cubicBezTo>
                  <a:cubicBezTo>
                    <a:pt x="457365" y="138869"/>
                    <a:pt x="494021" y="90402"/>
                    <a:pt x="568075" y="90402"/>
                  </a:cubicBezTo>
                  <a:close/>
                  <a:moveTo>
                    <a:pt x="353910" y="90402"/>
                  </a:moveTo>
                  <a:cubicBezTo>
                    <a:pt x="396401" y="90402"/>
                    <a:pt x="423983" y="111702"/>
                    <a:pt x="423983" y="152060"/>
                  </a:cubicBezTo>
                  <a:cubicBezTo>
                    <a:pt x="423983" y="215213"/>
                    <a:pt x="360246" y="227545"/>
                    <a:pt x="308065" y="230534"/>
                  </a:cubicBezTo>
                  <a:cubicBezTo>
                    <a:pt x="311046" y="250713"/>
                    <a:pt x="324465" y="272013"/>
                    <a:pt x="356519" y="272013"/>
                  </a:cubicBezTo>
                  <a:cubicBezTo>
                    <a:pt x="378883" y="272013"/>
                    <a:pt x="397146" y="262297"/>
                    <a:pt x="409073" y="254076"/>
                  </a:cubicBezTo>
                  <a:lnTo>
                    <a:pt x="425846" y="293313"/>
                  </a:lnTo>
                  <a:cubicBezTo>
                    <a:pt x="421001" y="297050"/>
                    <a:pt x="391555" y="316855"/>
                    <a:pt x="349065" y="316855"/>
                  </a:cubicBezTo>
                  <a:cubicBezTo>
                    <a:pt x="277501" y="316855"/>
                    <a:pt x="249174" y="271640"/>
                    <a:pt x="249174" y="208487"/>
                  </a:cubicBezTo>
                  <a:cubicBezTo>
                    <a:pt x="249174" y="146829"/>
                    <a:pt x="285328" y="90402"/>
                    <a:pt x="353910" y="90402"/>
                  </a:cubicBezTo>
                  <a:close/>
                  <a:moveTo>
                    <a:pt x="2208041" y="90249"/>
                  </a:moveTo>
                  <a:cubicBezTo>
                    <a:pt x="2234433" y="88758"/>
                    <a:pt x="2258595" y="96212"/>
                    <a:pt x="2277182" y="108139"/>
                  </a:cubicBezTo>
                  <a:lnTo>
                    <a:pt x="2277182" y="108512"/>
                  </a:lnTo>
                  <a:lnTo>
                    <a:pt x="2259711" y="148764"/>
                  </a:lnTo>
                  <a:cubicBezTo>
                    <a:pt x="2243355" y="137210"/>
                    <a:pt x="2227742" y="131247"/>
                    <a:pt x="2213245" y="131620"/>
                  </a:cubicBezTo>
                  <a:cubicBezTo>
                    <a:pt x="2199863" y="131992"/>
                    <a:pt x="2189083" y="137956"/>
                    <a:pt x="2189455" y="152119"/>
                  </a:cubicBezTo>
                  <a:cubicBezTo>
                    <a:pt x="2190570" y="168518"/>
                    <a:pt x="2205067" y="172618"/>
                    <a:pt x="2224025" y="177836"/>
                  </a:cubicBezTo>
                  <a:cubicBezTo>
                    <a:pt x="2254878" y="185663"/>
                    <a:pt x="2289448" y="194980"/>
                    <a:pt x="2292050" y="238960"/>
                  </a:cubicBezTo>
                  <a:cubicBezTo>
                    <a:pt x="2294653" y="287040"/>
                    <a:pt x="2262684" y="312384"/>
                    <a:pt x="2214360" y="314993"/>
                  </a:cubicBezTo>
                  <a:cubicBezTo>
                    <a:pt x="2177188" y="316856"/>
                    <a:pt x="2145591" y="304930"/>
                    <a:pt x="2133325" y="297103"/>
                  </a:cubicBezTo>
                  <a:lnTo>
                    <a:pt x="2150796" y="257223"/>
                  </a:lnTo>
                  <a:cubicBezTo>
                    <a:pt x="2166036" y="265050"/>
                    <a:pt x="2189827" y="273622"/>
                    <a:pt x="2208784" y="272504"/>
                  </a:cubicBezTo>
                  <a:cubicBezTo>
                    <a:pt x="2224397" y="272131"/>
                    <a:pt x="2235177" y="265050"/>
                    <a:pt x="2234433" y="249023"/>
                  </a:cubicBezTo>
                  <a:cubicBezTo>
                    <a:pt x="2233318" y="232624"/>
                    <a:pt x="2218449" y="229270"/>
                    <a:pt x="2199863" y="224424"/>
                  </a:cubicBezTo>
                  <a:cubicBezTo>
                    <a:pt x="2167895" y="216970"/>
                    <a:pt x="2135927" y="206534"/>
                    <a:pt x="2133325" y="162555"/>
                  </a:cubicBezTo>
                  <a:cubicBezTo>
                    <a:pt x="2131094" y="118202"/>
                    <a:pt x="2164549" y="92858"/>
                    <a:pt x="2208041" y="90249"/>
                  </a:cubicBezTo>
                  <a:close/>
                  <a:moveTo>
                    <a:pt x="1004892" y="31230"/>
                  </a:moveTo>
                  <a:lnTo>
                    <a:pt x="1063095" y="31230"/>
                  </a:lnTo>
                  <a:lnTo>
                    <a:pt x="1063095" y="112822"/>
                  </a:lnTo>
                  <a:cubicBezTo>
                    <a:pt x="1076440" y="98665"/>
                    <a:pt x="1095347" y="90841"/>
                    <a:pt x="1115736" y="90841"/>
                  </a:cubicBezTo>
                  <a:cubicBezTo>
                    <a:pt x="1159481" y="90841"/>
                    <a:pt x="1183207" y="115803"/>
                    <a:pt x="1183207" y="165727"/>
                  </a:cubicBezTo>
                  <a:lnTo>
                    <a:pt x="1183207" y="310283"/>
                  </a:lnTo>
                  <a:lnTo>
                    <a:pt x="1125004" y="310283"/>
                  </a:lnTo>
                  <a:lnTo>
                    <a:pt x="1125004" y="174668"/>
                  </a:lnTo>
                  <a:cubicBezTo>
                    <a:pt x="1125004" y="153432"/>
                    <a:pt x="1120556" y="136294"/>
                    <a:pt x="1098313" y="136294"/>
                  </a:cubicBezTo>
                  <a:cubicBezTo>
                    <a:pt x="1076811" y="136294"/>
                    <a:pt x="1062353" y="153432"/>
                    <a:pt x="1062353" y="173178"/>
                  </a:cubicBezTo>
                  <a:lnTo>
                    <a:pt x="1062353" y="310283"/>
                  </a:lnTo>
                  <a:lnTo>
                    <a:pt x="1004892" y="310283"/>
                  </a:lnTo>
                  <a:close/>
                  <a:moveTo>
                    <a:pt x="842391" y="31230"/>
                  </a:moveTo>
                  <a:lnTo>
                    <a:pt x="900136" y="31230"/>
                  </a:lnTo>
                  <a:lnTo>
                    <a:pt x="900136" y="97603"/>
                  </a:lnTo>
                  <a:lnTo>
                    <a:pt x="954920" y="97603"/>
                  </a:lnTo>
                  <a:lnTo>
                    <a:pt x="954920" y="143467"/>
                  </a:lnTo>
                  <a:lnTo>
                    <a:pt x="900877" y="143467"/>
                  </a:lnTo>
                  <a:lnTo>
                    <a:pt x="900877" y="238551"/>
                  </a:lnTo>
                  <a:cubicBezTo>
                    <a:pt x="900877" y="261670"/>
                    <a:pt x="905689" y="270992"/>
                    <a:pt x="921236" y="270992"/>
                  </a:cubicBezTo>
                  <a:cubicBezTo>
                    <a:pt x="928639" y="270992"/>
                    <a:pt x="936782" y="268382"/>
                    <a:pt x="946407" y="264653"/>
                  </a:cubicBezTo>
                  <a:lnTo>
                    <a:pt x="958622" y="303433"/>
                  </a:lnTo>
                  <a:cubicBezTo>
                    <a:pt x="946407" y="311636"/>
                    <a:pt x="924197" y="316856"/>
                    <a:pt x="905689" y="316856"/>
                  </a:cubicBezTo>
                  <a:cubicBezTo>
                    <a:pt x="845722" y="316856"/>
                    <a:pt x="842391" y="282551"/>
                    <a:pt x="842391" y="247128"/>
                  </a:cubicBezTo>
                  <a:lnTo>
                    <a:pt x="842391" y="143467"/>
                  </a:lnTo>
                  <a:lnTo>
                    <a:pt x="809816" y="143467"/>
                  </a:lnTo>
                  <a:lnTo>
                    <a:pt x="809816" y="97603"/>
                  </a:lnTo>
                  <a:lnTo>
                    <a:pt x="842391" y="97603"/>
                  </a:lnTo>
                  <a:close/>
                  <a:moveTo>
                    <a:pt x="698343" y="31230"/>
                  </a:moveTo>
                  <a:lnTo>
                    <a:pt x="756722" y="31230"/>
                  </a:lnTo>
                  <a:lnTo>
                    <a:pt x="756722" y="238449"/>
                  </a:lnTo>
                  <a:cubicBezTo>
                    <a:pt x="756722" y="261597"/>
                    <a:pt x="761895" y="270932"/>
                    <a:pt x="777045" y="270932"/>
                  </a:cubicBezTo>
                  <a:cubicBezTo>
                    <a:pt x="784434" y="270932"/>
                    <a:pt x="792563" y="268318"/>
                    <a:pt x="802170" y="264584"/>
                  </a:cubicBezTo>
                  <a:lnTo>
                    <a:pt x="814364" y="303415"/>
                  </a:lnTo>
                  <a:cubicBezTo>
                    <a:pt x="802170" y="311629"/>
                    <a:pt x="780000" y="316856"/>
                    <a:pt x="761895" y="316856"/>
                  </a:cubicBezTo>
                  <a:cubicBezTo>
                    <a:pt x="702038" y="316856"/>
                    <a:pt x="698343" y="282506"/>
                    <a:pt x="698343" y="247036"/>
                  </a:cubicBezTo>
                  <a:close/>
                  <a:moveTo>
                    <a:pt x="0" y="31230"/>
                  </a:moveTo>
                  <a:lnTo>
                    <a:pt x="59654" y="31230"/>
                  </a:lnTo>
                  <a:lnTo>
                    <a:pt x="59654" y="142255"/>
                  </a:lnTo>
                  <a:lnTo>
                    <a:pt x="145779" y="142255"/>
                  </a:lnTo>
                  <a:lnTo>
                    <a:pt x="145779" y="31230"/>
                  </a:lnTo>
                  <a:lnTo>
                    <a:pt x="206179" y="31230"/>
                  </a:lnTo>
                  <a:lnTo>
                    <a:pt x="206179" y="310283"/>
                  </a:lnTo>
                  <a:lnTo>
                    <a:pt x="145779" y="310283"/>
                  </a:lnTo>
                  <a:lnTo>
                    <a:pt x="145779" y="194787"/>
                  </a:lnTo>
                  <a:lnTo>
                    <a:pt x="59654" y="194787"/>
                  </a:lnTo>
                  <a:lnTo>
                    <a:pt x="59654" y="310283"/>
                  </a:lnTo>
                  <a:lnTo>
                    <a:pt x="0" y="310283"/>
                  </a:lnTo>
                  <a:close/>
                  <a:moveTo>
                    <a:pt x="1262898" y="0"/>
                  </a:moveTo>
                  <a:cubicBezTo>
                    <a:pt x="1281745" y="0"/>
                    <a:pt x="1294680" y="13890"/>
                    <a:pt x="1294680" y="30408"/>
                  </a:cubicBezTo>
                  <a:cubicBezTo>
                    <a:pt x="1294680" y="48053"/>
                    <a:pt x="1281745" y="60442"/>
                    <a:pt x="1262898" y="60442"/>
                  </a:cubicBezTo>
                  <a:cubicBezTo>
                    <a:pt x="1243681" y="60442"/>
                    <a:pt x="1231116" y="48053"/>
                    <a:pt x="1231116" y="30408"/>
                  </a:cubicBezTo>
                  <a:cubicBezTo>
                    <a:pt x="1231116" y="13890"/>
                    <a:pt x="1244051" y="0"/>
                    <a:pt x="1262898" y="0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bevel/>
              <a:headEnd/>
              <a:tailEnd/>
            </a:ln>
            <a:effectLst/>
          </p:spPr>
          <p:txBody>
            <a:bodyPr wrap="square" anchor="ctr">
              <a:prstTxWarp prst="textNoShape">
                <a:avLst/>
              </a:prstTxWarp>
              <a:noAutofit/>
            </a:bodyPr>
            <a:lstStyle/>
            <a:p>
              <a:pPr marL="0" marR="0" lvl="0" indent="0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"/>
                <a:cs typeface=""/>
              </a:endParaRPr>
            </a:p>
          </p:txBody>
        </p:sp>
      </p:grpSp>
      <p:sp>
        <p:nvSpPr>
          <p:cNvPr id="46" name="Abgerundetes Rechteck 87"/>
          <p:cNvSpPr/>
          <p:nvPr userDrawn="1"/>
        </p:nvSpPr>
        <p:spPr>
          <a:xfrm>
            <a:off x="12649206" y="4866112"/>
            <a:ext cx="1865457" cy="1442613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Placeholder Eye-catcher </a:t>
            </a:r>
            <a:br>
              <a:rPr lang="en-US" sz="1100" b="1" dirty="0">
                <a:solidFill>
                  <a:srgbClr val="2D1E1C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for notes and third party logos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Placement can be varied  </a:t>
            </a:r>
            <a:br>
              <a:rPr lang="en-US" sz="1100" dirty="0">
                <a:solidFill>
                  <a:schemeClr val="bg1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in</a:t>
            </a:r>
            <a:r>
              <a:rPr lang="en-US" sz="11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heights.</a:t>
            </a:r>
            <a:br>
              <a:rPr lang="en-US" sz="1100" dirty="0">
                <a:solidFill>
                  <a:schemeClr val="bg1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If it is</a:t>
            </a:r>
            <a:r>
              <a:rPr lang="en-US" sz="11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100" b="1" baseline="0" dirty="0">
                <a:solidFill>
                  <a:schemeClr val="bg1"/>
                </a:solidFill>
                <a:latin typeface="+mn-lt"/>
              </a:rPr>
              <a:t>not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needed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, please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delete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 this element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22960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/Table of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65191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8" name="Picture 3" descr="C:\Users\z000cq2y\Desktop\NewB\12 top Applivations\Title1.jp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75" y="1152942"/>
            <a:ext cx="6937298" cy="5155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7" name="Freeform 5"/>
          <p:cNvSpPr>
            <a:spLocks/>
          </p:cNvSpPr>
          <p:nvPr userDrawn="1"/>
        </p:nvSpPr>
        <p:spPr bwMode="gray">
          <a:xfrm>
            <a:off x="5597526" y="1"/>
            <a:ext cx="6029325" cy="6308725"/>
          </a:xfrm>
          <a:custGeom>
            <a:avLst/>
            <a:gdLst/>
            <a:ahLst/>
            <a:cxnLst/>
            <a:rect l="l" t="t" r="r" b="b"/>
            <a:pathLst>
              <a:path w="6029325" h="6308725">
                <a:moveTo>
                  <a:pt x="1460500" y="0"/>
                </a:moveTo>
                <a:lnTo>
                  <a:pt x="6029325" y="0"/>
                </a:lnTo>
                <a:lnTo>
                  <a:pt x="6029325" y="6308725"/>
                </a:lnTo>
                <a:lnTo>
                  <a:pt x="654617" y="6308725"/>
                </a:lnTo>
                <a:lnTo>
                  <a:pt x="622300" y="6248400"/>
                </a:lnTo>
                <a:lnTo>
                  <a:pt x="574675" y="6156325"/>
                </a:lnTo>
                <a:lnTo>
                  <a:pt x="530225" y="6064250"/>
                </a:lnTo>
                <a:lnTo>
                  <a:pt x="485775" y="5972175"/>
                </a:lnTo>
                <a:lnTo>
                  <a:pt x="444500" y="5876925"/>
                </a:lnTo>
                <a:lnTo>
                  <a:pt x="403225" y="5781675"/>
                </a:lnTo>
                <a:lnTo>
                  <a:pt x="365125" y="5686425"/>
                </a:lnTo>
                <a:lnTo>
                  <a:pt x="330200" y="5588000"/>
                </a:lnTo>
                <a:lnTo>
                  <a:pt x="295275" y="5492750"/>
                </a:lnTo>
                <a:lnTo>
                  <a:pt x="263525" y="5391150"/>
                </a:lnTo>
                <a:lnTo>
                  <a:pt x="231775" y="5292725"/>
                </a:lnTo>
                <a:lnTo>
                  <a:pt x="203200" y="5194300"/>
                </a:lnTo>
                <a:lnTo>
                  <a:pt x="174625" y="5092700"/>
                </a:lnTo>
                <a:lnTo>
                  <a:pt x="149225" y="4991100"/>
                </a:lnTo>
                <a:lnTo>
                  <a:pt x="127000" y="4889500"/>
                </a:lnTo>
                <a:lnTo>
                  <a:pt x="104775" y="4784725"/>
                </a:lnTo>
                <a:lnTo>
                  <a:pt x="85725" y="4679950"/>
                </a:lnTo>
                <a:lnTo>
                  <a:pt x="69850" y="4575175"/>
                </a:lnTo>
                <a:lnTo>
                  <a:pt x="53975" y="4470400"/>
                </a:lnTo>
                <a:lnTo>
                  <a:pt x="38100" y="4365625"/>
                </a:lnTo>
                <a:lnTo>
                  <a:pt x="28575" y="4257675"/>
                </a:lnTo>
                <a:lnTo>
                  <a:pt x="19050" y="4152900"/>
                </a:lnTo>
                <a:lnTo>
                  <a:pt x="12700" y="4044950"/>
                </a:lnTo>
                <a:lnTo>
                  <a:pt x="6350" y="3937000"/>
                </a:lnTo>
                <a:lnTo>
                  <a:pt x="3175" y="3825875"/>
                </a:lnTo>
                <a:lnTo>
                  <a:pt x="0" y="3717925"/>
                </a:lnTo>
                <a:lnTo>
                  <a:pt x="3175" y="3584575"/>
                </a:lnTo>
                <a:lnTo>
                  <a:pt x="9525" y="3451225"/>
                </a:lnTo>
                <a:lnTo>
                  <a:pt x="15875" y="3317875"/>
                </a:lnTo>
                <a:lnTo>
                  <a:pt x="28575" y="3184525"/>
                </a:lnTo>
                <a:lnTo>
                  <a:pt x="41275" y="3054350"/>
                </a:lnTo>
                <a:lnTo>
                  <a:pt x="57150" y="2924175"/>
                </a:lnTo>
                <a:lnTo>
                  <a:pt x="79375" y="2797175"/>
                </a:lnTo>
                <a:lnTo>
                  <a:pt x="101600" y="2667000"/>
                </a:lnTo>
                <a:lnTo>
                  <a:pt x="127000" y="2540000"/>
                </a:lnTo>
                <a:lnTo>
                  <a:pt x="158750" y="2416175"/>
                </a:lnTo>
                <a:lnTo>
                  <a:pt x="190500" y="2292350"/>
                </a:lnTo>
                <a:lnTo>
                  <a:pt x="225425" y="2168525"/>
                </a:lnTo>
                <a:lnTo>
                  <a:pt x="263525" y="2044700"/>
                </a:lnTo>
                <a:lnTo>
                  <a:pt x="301625" y="1924050"/>
                </a:lnTo>
                <a:lnTo>
                  <a:pt x="346075" y="1803400"/>
                </a:lnTo>
                <a:lnTo>
                  <a:pt x="390525" y="1685925"/>
                </a:lnTo>
                <a:lnTo>
                  <a:pt x="441325" y="1568450"/>
                </a:lnTo>
                <a:lnTo>
                  <a:pt x="492125" y="1454150"/>
                </a:lnTo>
                <a:lnTo>
                  <a:pt x="546100" y="1339850"/>
                </a:lnTo>
                <a:lnTo>
                  <a:pt x="600075" y="1225550"/>
                </a:lnTo>
                <a:lnTo>
                  <a:pt x="660400" y="1114425"/>
                </a:lnTo>
                <a:lnTo>
                  <a:pt x="720725" y="1006475"/>
                </a:lnTo>
                <a:lnTo>
                  <a:pt x="784225" y="895350"/>
                </a:lnTo>
                <a:lnTo>
                  <a:pt x="850900" y="790575"/>
                </a:lnTo>
                <a:lnTo>
                  <a:pt x="917575" y="685800"/>
                </a:lnTo>
                <a:lnTo>
                  <a:pt x="990600" y="581025"/>
                </a:lnTo>
                <a:lnTo>
                  <a:pt x="1063625" y="479425"/>
                </a:lnTo>
                <a:lnTo>
                  <a:pt x="1136650" y="381000"/>
                </a:lnTo>
                <a:lnTo>
                  <a:pt x="1216025" y="282575"/>
                </a:lnTo>
                <a:lnTo>
                  <a:pt x="1295400" y="187325"/>
                </a:lnTo>
                <a:lnTo>
                  <a:pt x="1377950" y="9207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/>
          </a:p>
        </p:txBody>
      </p:sp>
      <p:sp>
        <p:nvSpPr>
          <p:cNvPr id="7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134100" y="1629093"/>
            <a:ext cx="5492751" cy="851515"/>
          </a:xfrm>
        </p:spPr>
        <p:txBody>
          <a:bodyPr wrap="square">
            <a:spAutoFit/>
          </a:bodyPr>
          <a:lstStyle>
            <a:lvl1pPr marL="266700" indent="-266700"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5494338" algn="r"/>
              </a:tabLst>
              <a:defRPr b="0">
                <a:solidFill>
                  <a:schemeClr val="tx1"/>
                </a:solidFill>
              </a:defRPr>
            </a:lvl1pPr>
            <a:lvl3pPr>
              <a:buClr>
                <a:schemeClr val="tx2"/>
              </a:buClr>
              <a:tabLst>
                <a:tab pos="5494338" algn="r"/>
              </a:tabLst>
              <a:defRPr baseline="0"/>
            </a:lvl3pPr>
          </a:lstStyle>
          <a:p>
            <a:pPr lvl="0"/>
            <a:r>
              <a:rPr lang="en-US" dirty="0"/>
              <a:t>Click to add chapter title, [Tab] 	page #</a:t>
            </a:r>
          </a:p>
          <a:p>
            <a:pPr lvl="2"/>
            <a:r>
              <a:rPr lang="en-US" dirty="0"/>
              <a:t>Second level</a:t>
            </a: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0" y="796"/>
            <a:ext cx="12198350" cy="1624807"/>
            <a:chOff x="0" y="796"/>
            <a:chExt cx="12198350" cy="1624807"/>
          </a:xfrm>
        </p:grpSpPr>
        <p:sp>
          <p:nvSpPr>
            <p:cNvPr id="74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7" name="Freeform 11"/>
            <p:cNvSpPr>
              <a:spLocks/>
            </p:cNvSpPr>
            <p:nvPr userDrawn="1"/>
          </p:nvSpPr>
          <p:spPr bwMode="gray">
            <a:xfrm>
              <a:off x="0" y="1151075"/>
              <a:ext cx="12198350" cy="474528"/>
            </a:xfrm>
            <a:custGeom>
              <a:avLst/>
              <a:gdLst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4" fmla="*/ 93792 w 12207175"/>
                <a:gd name="connsiteY4" fmla="*/ 93820 h 1624807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2352 w 12207175"/>
                <a:gd name="connsiteY0" fmla="*/ 4126 h 1626553"/>
                <a:gd name="connsiteX1" fmla="*/ 31685 w 12207175"/>
                <a:gd name="connsiteY1" fmla="*/ 0 h 1626553"/>
                <a:gd name="connsiteX2" fmla="*/ 12207175 w 12207175"/>
                <a:gd name="connsiteY2" fmla="*/ 1746 h 1626553"/>
                <a:gd name="connsiteX3" fmla="*/ 12207175 w 12207175"/>
                <a:gd name="connsiteY3" fmla="*/ 1152025 h 1626553"/>
                <a:gd name="connsiteX4" fmla="*/ 0 w 12207175"/>
                <a:gd name="connsiteY4" fmla="*/ 1626553 h 1626553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12207175 w 12207175"/>
                <a:gd name="connsiteY0" fmla="*/ 0 h 1624807"/>
                <a:gd name="connsiteX1" fmla="*/ 12207175 w 12207175"/>
                <a:gd name="connsiteY1" fmla="*/ 1150279 h 1624807"/>
                <a:gd name="connsiteX2" fmla="*/ 0 w 12207175"/>
                <a:gd name="connsiteY2" fmla="*/ 1624807 h 1624807"/>
                <a:gd name="connsiteX0" fmla="*/ 12207175 w 12207175"/>
                <a:gd name="connsiteY0" fmla="*/ 0 h 474528"/>
                <a:gd name="connsiteX1" fmla="*/ 0 w 12207175"/>
                <a:gd name="connsiteY1" fmla="*/ 474528 h 47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07175" h="474528">
                  <a:moveTo>
                    <a:pt x="12207175" y="0"/>
                  </a:moveTo>
                  <a:cubicBezTo>
                    <a:pt x="9794392" y="10920"/>
                    <a:pt x="4154653" y="95989"/>
                    <a:pt x="0" y="474528"/>
                  </a:cubicBezTo>
                </a:path>
              </a:pathLst>
            </a:custGeom>
            <a:noFill/>
            <a:ln w="9525">
              <a:solidFill>
                <a:srgbClr val="F9B59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109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110" name="Freihandform 109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111" name="Freihandform 110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112" name="Freihandform 111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14" name="Abgerundetes Rechteck 42"/>
          <p:cNvSpPr/>
          <p:nvPr userDrawn="1"/>
        </p:nvSpPr>
        <p:spPr>
          <a:xfrm>
            <a:off x="12649206" y="1627003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Image</a:t>
            </a:r>
            <a:r>
              <a:rPr lang="en-US" sz="1100" dirty="0">
                <a:solidFill>
                  <a:srgbClr val="2D1E1C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must be exchanged on the slide master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2601" y="216377"/>
            <a:ext cx="9144000" cy="49244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troduction/Table of contents</a:t>
            </a:r>
            <a:r>
              <a:rPr lang="en-US" noProof="0" dirty="0"/>
              <a:t>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33973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/Table of conten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56257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6" name="Rechteck 215"/>
          <p:cNvSpPr/>
          <p:nvPr userDrawn="1"/>
        </p:nvSpPr>
        <p:spPr>
          <a:xfrm>
            <a:off x="0" y="0"/>
            <a:ext cx="12198350" cy="6308725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0737" y="757121"/>
            <a:ext cx="5597523" cy="5558307"/>
          </a:xfrm>
          <a:prstGeom prst="rect">
            <a:avLst/>
          </a:prstGeom>
        </p:spPr>
      </p:pic>
      <p:sp>
        <p:nvSpPr>
          <p:cNvPr id="7" name="Textplatzhalter 6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82600" y="1629093"/>
            <a:ext cx="5651500" cy="851515"/>
          </a:xfrm>
        </p:spPr>
        <p:txBody>
          <a:bodyPr>
            <a:spAutoFit/>
          </a:bodyPr>
          <a:lstStyle>
            <a:lvl1pPr marL="266700" indent="-266700"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5646738" algn="r"/>
              </a:tabLst>
              <a:defRPr b="0">
                <a:solidFill>
                  <a:schemeClr val="tx1"/>
                </a:solidFill>
              </a:defRPr>
            </a:lvl1pPr>
            <a:lvl3pPr>
              <a:tabLst>
                <a:tab pos="5646738" algn="r"/>
              </a:tabLst>
              <a:defRPr baseline="0"/>
            </a:lvl3pPr>
          </a:lstStyle>
          <a:p>
            <a:pPr lvl="0"/>
            <a:r>
              <a:rPr lang="en-US" dirty="0"/>
              <a:t>Click to add chapter title, [Tab] 	page #</a:t>
            </a:r>
          </a:p>
          <a:p>
            <a:pPr lvl="2"/>
            <a:r>
              <a:rPr lang="en-US" dirty="0"/>
              <a:t>Second level</a:t>
            </a: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249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250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251" name="Freihandform 250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252" name="Freihandform 251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253" name="Freihandform 252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482601" y="216377"/>
            <a:ext cx="9144000" cy="49244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troduction/Table of contents</a:t>
            </a:r>
            <a:r>
              <a:rPr lang="en-US" noProof="0" dirty="0"/>
              <a:t>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14688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/Table of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0624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0737" y="757121"/>
            <a:ext cx="5597523" cy="5567437"/>
          </a:xfrm>
          <a:prstGeom prst="rect">
            <a:avLst/>
          </a:prstGeom>
        </p:spPr>
      </p:pic>
      <p:sp>
        <p:nvSpPr>
          <p:cNvPr id="219" name="Textplatzhalter 6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82600" y="1629093"/>
            <a:ext cx="5651500" cy="851515"/>
          </a:xfrm>
        </p:spPr>
        <p:txBody>
          <a:bodyPr>
            <a:spAutoFit/>
          </a:bodyPr>
          <a:lstStyle>
            <a:lvl1pPr marL="266700" indent="-266700"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5646738" algn="r"/>
              </a:tabLst>
              <a:defRPr b="0">
                <a:solidFill>
                  <a:schemeClr val="tx1"/>
                </a:solidFill>
              </a:defRPr>
            </a:lvl1pPr>
            <a:lvl3pPr>
              <a:tabLst>
                <a:tab pos="5646738" algn="r"/>
              </a:tabLst>
              <a:defRPr baseline="0"/>
            </a:lvl3pPr>
          </a:lstStyle>
          <a:p>
            <a:pPr lvl="0"/>
            <a:r>
              <a:rPr lang="en-US" dirty="0"/>
              <a:t>Click to add chapter title, [Tab] 	page #</a:t>
            </a:r>
          </a:p>
          <a:p>
            <a:pPr lvl="2"/>
            <a:r>
              <a:rPr lang="en-US" dirty="0"/>
              <a:t>Second level</a:t>
            </a: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1" y="796"/>
            <a:ext cx="12198350" cy="1624807"/>
            <a:chOff x="1" y="796"/>
            <a:chExt cx="12198350" cy="1624807"/>
          </a:xfrm>
        </p:grpSpPr>
        <p:sp>
          <p:nvSpPr>
            <p:cNvPr id="218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7" name="Freeform 11"/>
            <p:cNvSpPr>
              <a:spLocks/>
            </p:cNvSpPr>
            <p:nvPr userDrawn="1"/>
          </p:nvSpPr>
          <p:spPr bwMode="gray">
            <a:xfrm>
              <a:off x="1" y="1151075"/>
              <a:ext cx="12198350" cy="474528"/>
            </a:xfrm>
            <a:custGeom>
              <a:avLst/>
              <a:gdLst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4" fmla="*/ 93792 w 12207175"/>
                <a:gd name="connsiteY4" fmla="*/ 93820 h 1624807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2352 w 12207175"/>
                <a:gd name="connsiteY0" fmla="*/ 4126 h 1626553"/>
                <a:gd name="connsiteX1" fmla="*/ 31685 w 12207175"/>
                <a:gd name="connsiteY1" fmla="*/ 0 h 1626553"/>
                <a:gd name="connsiteX2" fmla="*/ 12207175 w 12207175"/>
                <a:gd name="connsiteY2" fmla="*/ 1746 h 1626553"/>
                <a:gd name="connsiteX3" fmla="*/ 12207175 w 12207175"/>
                <a:gd name="connsiteY3" fmla="*/ 1152025 h 1626553"/>
                <a:gd name="connsiteX4" fmla="*/ 0 w 12207175"/>
                <a:gd name="connsiteY4" fmla="*/ 1626553 h 1626553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12207175 w 12207175"/>
                <a:gd name="connsiteY0" fmla="*/ 0 h 1624807"/>
                <a:gd name="connsiteX1" fmla="*/ 12207175 w 12207175"/>
                <a:gd name="connsiteY1" fmla="*/ 1150279 h 1624807"/>
                <a:gd name="connsiteX2" fmla="*/ 0 w 12207175"/>
                <a:gd name="connsiteY2" fmla="*/ 1624807 h 1624807"/>
                <a:gd name="connsiteX0" fmla="*/ 12207175 w 12207175"/>
                <a:gd name="connsiteY0" fmla="*/ 0 h 474528"/>
                <a:gd name="connsiteX1" fmla="*/ 0 w 12207175"/>
                <a:gd name="connsiteY1" fmla="*/ 474528 h 47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07175" h="474528">
                  <a:moveTo>
                    <a:pt x="12207175" y="0"/>
                  </a:moveTo>
                  <a:cubicBezTo>
                    <a:pt x="9794392" y="10920"/>
                    <a:pt x="4154653" y="95989"/>
                    <a:pt x="0" y="474528"/>
                  </a:cubicBezTo>
                </a:path>
              </a:pathLst>
            </a:custGeom>
            <a:noFill/>
            <a:ln w="9525">
              <a:solidFill>
                <a:srgbClr val="F9B59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495" name="Gruppierung 140"/>
          <p:cNvGrpSpPr>
            <a:grpSpLocks noChangeAspect="1"/>
          </p:cNvGrpSpPr>
          <p:nvPr userDrawn="1"/>
        </p:nvGrpSpPr>
        <p:grpSpPr>
          <a:xfrm>
            <a:off x="10291931" y="341313"/>
            <a:ext cx="1638132" cy="385201"/>
            <a:chOff x="6613648" y="2453653"/>
            <a:chExt cx="2815390" cy="662028"/>
          </a:xfrm>
        </p:grpSpPr>
        <p:sp>
          <p:nvSpPr>
            <p:cNvPr id="496" name="Freihandform 495"/>
            <p:cNvSpPr>
              <a:spLocks noChangeAspect="1" noChangeArrowheads="1"/>
            </p:cNvSpPr>
            <p:nvPr/>
          </p:nvSpPr>
          <p:spPr bwMode="auto">
            <a:xfrm>
              <a:off x="8944950" y="2560629"/>
              <a:ext cx="484088" cy="476289"/>
            </a:xfrm>
            <a:custGeom>
              <a:avLst/>
              <a:gdLst>
                <a:gd name="connsiteX0" fmla="*/ 224003 w 484088"/>
                <a:gd name="connsiteY0" fmla="*/ 410646 h 476290"/>
                <a:gd name="connsiteX1" fmla="*/ 247187 w 484088"/>
                <a:gd name="connsiteY1" fmla="*/ 420103 h 476290"/>
                <a:gd name="connsiteX2" fmla="*/ 247187 w 484088"/>
                <a:gd name="connsiteY2" fmla="*/ 466833 h 476290"/>
                <a:gd name="connsiteX3" fmla="*/ 200818 w 484088"/>
                <a:gd name="connsiteY3" fmla="*/ 466833 h 476290"/>
                <a:gd name="connsiteX4" fmla="*/ 200818 w 484088"/>
                <a:gd name="connsiteY4" fmla="*/ 420103 h 476290"/>
                <a:gd name="connsiteX5" fmla="*/ 224003 w 484088"/>
                <a:gd name="connsiteY5" fmla="*/ 410646 h 476290"/>
                <a:gd name="connsiteX6" fmla="*/ 121049 w 484088"/>
                <a:gd name="connsiteY6" fmla="*/ 316301 h 476290"/>
                <a:gd name="connsiteX7" fmla="*/ 138696 w 484088"/>
                <a:gd name="connsiteY7" fmla="*/ 323796 h 476290"/>
                <a:gd name="connsiteX8" fmla="*/ 138696 w 484088"/>
                <a:gd name="connsiteY8" fmla="*/ 359325 h 476290"/>
                <a:gd name="connsiteX9" fmla="*/ 103128 w 484088"/>
                <a:gd name="connsiteY9" fmla="*/ 359325 h 476290"/>
                <a:gd name="connsiteX10" fmla="*/ 103128 w 484088"/>
                <a:gd name="connsiteY10" fmla="*/ 323796 h 476290"/>
                <a:gd name="connsiteX11" fmla="*/ 121049 w 484088"/>
                <a:gd name="connsiteY11" fmla="*/ 316301 h 476290"/>
                <a:gd name="connsiteX12" fmla="*/ 325449 w 484088"/>
                <a:gd name="connsiteY12" fmla="*/ 298284 h 476290"/>
                <a:gd name="connsiteX13" fmla="*/ 356024 w 484088"/>
                <a:gd name="connsiteY13" fmla="*/ 310902 h 476290"/>
                <a:gd name="connsiteX14" fmla="*/ 356024 w 484088"/>
                <a:gd name="connsiteY14" fmla="*/ 372214 h 476290"/>
                <a:gd name="connsiteX15" fmla="*/ 294874 w 484088"/>
                <a:gd name="connsiteY15" fmla="*/ 372214 h 476290"/>
                <a:gd name="connsiteX16" fmla="*/ 294874 w 484088"/>
                <a:gd name="connsiteY16" fmla="*/ 310902 h 476290"/>
                <a:gd name="connsiteX17" fmla="*/ 325449 w 484088"/>
                <a:gd name="connsiteY17" fmla="*/ 298284 h 476290"/>
                <a:gd name="connsiteX18" fmla="*/ 19273 w 484088"/>
                <a:gd name="connsiteY18" fmla="*/ 218685 h 476290"/>
                <a:gd name="connsiteX19" fmla="*/ 32986 w 484088"/>
                <a:gd name="connsiteY19" fmla="*/ 224259 h 476290"/>
                <a:gd name="connsiteX20" fmla="*/ 32986 w 484088"/>
                <a:gd name="connsiteY20" fmla="*/ 251759 h 476290"/>
                <a:gd name="connsiteX21" fmla="*/ 5560 w 484088"/>
                <a:gd name="connsiteY21" fmla="*/ 251759 h 476290"/>
                <a:gd name="connsiteX22" fmla="*/ 5560 w 484088"/>
                <a:gd name="connsiteY22" fmla="*/ 224259 h 476290"/>
                <a:gd name="connsiteX23" fmla="*/ 19273 w 484088"/>
                <a:gd name="connsiteY23" fmla="*/ 218685 h 476290"/>
                <a:gd name="connsiteX24" fmla="*/ 224003 w 484088"/>
                <a:gd name="connsiteY24" fmla="*/ 205318 h 476290"/>
                <a:gd name="connsiteX25" fmla="*/ 247187 w 484088"/>
                <a:gd name="connsiteY25" fmla="*/ 215174 h 476290"/>
                <a:gd name="connsiteX26" fmla="*/ 247187 w 484088"/>
                <a:gd name="connsiteY26" fmla="*/ 262482 h 476290"/>
                <a:gd name="connsiteX27" fmla="*/ 200818 w 484088"/>
                <a:gd name="connsiteY27" fmla="*/ 262482 h 476290"/>
                <a:gd name="connsiteX28" fmla="*/ 200818 w 484088"/>
                <a:gd name="connsiteY28" fmla="*/ 215174 h 476290"/>
                <a:gd name="connsiteX29" fmla="*/ 224003 w 484088"/>
                <a:gd name="connsiteY29" fmla="*/ 205318 h 476290"/>
                <a:gd name="connsiteX30" fmla="*/ 428279 w 484088"/>
                <a:gd name="connsiteY30" fmla="*/ 182871 h 476290"/>
                <a:gd name="connsiteX31" fmla="*/ 467652 w 484088"/>
                <a:gd name="connsiteY31" fmla="*/ 199351 h 476290"/>
                <a:gd name="connsiteX32" fmla="*/ 467652 w 484088"/>
                <a:gd name="connsiteY32" fmla="*/ 278307 h 476290"/>
                <a:gd name="connsiteX33" fmla="*/ 388906 w 484088"/>
                <a:gd name="connsiteY33" fmla="*/ 278307 h 476290"/>
                <a:gd name="connsiteX34" fmla="*/ 388906 w 484088"/>
                <a:gd name="connsiteY34" fmla="*/ 199351 h 476290"/>
                <a:gd name="connsiteX35" fmla="*/ 428279 w 484088"/>
                <a:gd name="connsiteY35" fmla="*/ 182871 h 476290"/>
                <a:gd name="connsiteX36" fmla="*/ 121049 w 484088"/>
                <a:gd name="connsiteY36" fmla="*/ 110842 h 476290"/>
                <a:gd name="connsiteX37" fmla="*/ 138696 w 484088"/>
                <a:gd name="connsiteY37" fmla="*/ 118337 h 476290"/>
                <a:gd name="connsiteX38" fmla="*/ 138696 w 484088"/>
                <a:gd name="connsiteY38" fmla="*/ 154236 h 476290"/>
                <a:gd name="connsiteX39" fmla="*/ 103128 w 484088"/>
                <a:gd name="connsiteY39" fmla="*/ 154236 h 476290"/>
                <a:gd name="connsiteX40" fmla="*/ 103128 w 484088"/>
                <a:gd name="connsiteY40" fmla="*/ 118337 h 476290"/>
                <a:gd name="connsiteX41" fmla="*/ 121049 w 484088"/>
                <a:gd name="connsiteY41" fmla="*/ 110842 h 476290"/>
                <a:gd name="connsiteX42" fmla="*/ 325683 w 484088"/>
                <a:gd name="connsiteY42" fmla="*/ 92919 h 476290"/>
                <a:gd name="connsiteX43" fmla="*/ 356092 w 484088"/>
                <a:gd name="connsiteY43" fmla="*/ 105817 h 476290"/>
                <a:gd name="connsiteX44" fmla="*/ 356092 w 484088"/>
                <a:gd name="connsiteY44" fmla="*/ 166756 h 476290"/>
                <a:gd name="connsiteX45" fmla="*/ 295553 w 484088"/>
                <a:gd name="connsiteY45" fmla="*/ 166756 h 476290"/>
                <a:gd name="connsiteX46" fmla="*/ 295553 w 484088"/>
                <a:gd name="connsiteY46" fmla="*/ 105817 h 476290"/>
                <a:gd name="connsiteX47" fmla="*/ 325683 w 484088"/>
                <a:gd name="connsiteY47" fmla="*/ 92919 h 476290"/>
                <a:gd name="connsiteX48" fmla="*/ 224003 w 484088"/>
                <a:gd name="connsiteY48" fmla="*/ 0 h 476290"/>
                <a:gd name="connsiteX49" fmla="*/ 247187 w 484088"/>
                <a:gd name="connsiteY49" fmla="*/ 9715 h 476290"/>
                <a:gd name="connsiteX50" fmla="*/ 247187 w 484088"/>
                <a:gd name="connsiteY50" fmla="*/ 57022 h 476290"/>
                <a:gd name="connsiteX51" fmla="*/ 200818 w 484088"/>
                <a:gd name="connsiteY51" fmla="*/ 57022 h 476290"/>
                <a:gd name="connsiteX52" fmla="*/ 200818 w 484088"/>
                <a:gd name="connsiteY52" fmla="*/ 9715 h 476290"/>
                <a:gd name="connsiteX53" fmla="*/ 224003 w 484088"/>
                <a:gd name="connsiteY53" fmla="*/ 0 h 476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84088" h="476290">
                  <a:moveTo>
                    <a:pt x="224003" y="410646"/>
                  </a:moveTo>
                  <a:cubicBezTo>
                    <a:pt x="232375" y="410646"/>
                    <a:pt x="240747" y="413798"/>
                    <a:pt x="247187" y="420103"/>
                  </a:cubicBezTo>
                  <a:cubicBezTo>
                    <a:pt x="260067" y="433084"/>
                    <a:pt x="260067" y="453853"/>
                    <a:pt x="247187" y="466833"/>
                  </a:cubicBezTo>
                  <a:cubicBezTo>
                    <a:pt x="234307" y="479443"/>
                    <a:pt x="213699" y="479443"/>
                    <a:pt x="200818" y="466833"/>
                  </a:cubicBezTo>
                  <a:cubicBezTo>
                    <a:pt x="188306" y="454224"/>
                    <a:pt x="188306" y="433455"/>
                    <a:pt x="200818" y="420103"/>
                  </a:cubicBezTo>
                  <a:cubicBezTo>
                    <a:pt x="207259" y="413798"/>
                    <a:pt x="215631" y="410646"/>
                    <a:pt x="224003" y="410646"/>
                  </a:cubicBezTo>
                  <a:close/>
                  <a:moveTo>
                    <a:pt x="121049" y="316301"/>
                  </a:moveTo>
                  <a:cubicBezTo>
                    <a:pt x="127512" y="316301"/>
                    <a:pt x="133929" y="318800"/>
                    <a:pt x="138696" y="323796"/>
                  </a:cubicBezTo>
                  <a:cubicBezTo>
                    <a:pt x="148597" y="333788"/>
                    <a:pt x="148597" y="349333"/>
                    <a:pt x="138696" y="359325"/>
                  </a:cubicBezTo>
                  <a:cubicBezTo>
                    <a:pt x="129162" y="369318"/>
                    <a:pt x="113028" y="369318"/>
                    <a:pt x="103128" y="359325"/>
                  </a:cubicBezTo>
                  <a:cubicBezTo>
                    <a:pt x="93227" y="349333"/>
                    <a:pt x="93227" y="333788"/>
                    <a:pt x="103128" y="323796"/>
                  </a:cubicBezTo>
                  <a:cubicBezTo>
                    <a:pt x="108078" y="318800"/>
                    <a:pt x="114587" y="316301"/>
                    <a:pt x="121049" y="316301"/>
                  </a:cubicBezTo>
                  <a:close/>
                  <a:moveTo>
                    <a:pt x="325449" y="298284"/>
                  </a:moveTo>
                  <a:cubicBezTo>
                    <a:pt x="336448" y="298284"/>
                    <a:pt x="347448" y="302490"/>
                    <a:pt x="356024" y="310902"/>
                  </a:cubicBezTo>
                  <a:cubicBezTo>
                    <a:pt x="372803" y="328099"/>
                    <a:pt x="373175" y="355016"/>
                    <a:pt x="356024" y="372214"/>
                  </a:cubicBezTo>
                  <a:cubicBezTo>
                    <a:pt x="339245" y="389037"/>
                    <a:pt x="312026" y="389037"/>
                    <a:pt x="294874" y="372214"/>
                  </a:cubicBezTo>
                  <a:cubicBezTo>
                    <a:pt x="278468" y="355016"/>
                    <a:pt x="278468" y="328099"/>
                    <a:pt x="294874" y="310902"/>
                  </a:cubicBezTo>
                  <a:cubicBezTo>
                    <a:pt x="303450" y="302490"/>
                    <a:pt x="314449" y="298284"/>
                    <a:pt x="325449" y="298284"/>
                  </a:cubicBezTo>
                  <a:close/>
                  <a:moveTo>
                    <a:pt x="19273" y="218685"/>
                  </a:moveTo>
                  <a:cubicBezTo>
                    <a:pt x="24277" y="218685"/>
                    <a:pt x="29280" y="220543"/>
                    <a:pt x="32986" y="224259"/>
                  </a:cubicBezTo>
                  <a:cubicBezTo>
                    <a:pt x="40399" y="231692"/>
                    <a:pt x="40399" y="243955"/>
                    <a:pt x="32986" y="251759"/>
                  </a:cubicBezTo>
                  <a:cubicBezTo>
                    <a:pt x="25574" y="259192"/>
                    <a:pt x="12972" y="259192"/>
                    <a:pt x="5560" y="251759"/>
                  </a:cubicBezTo>
                  <a:cubicBezTo>
                    <a:pt x="-1853" y="243955"/>
                    <a:pt x="-1853" y="231692"/>
                    <a:pt x="5560" y="224259"/>
                  </a:cubicBezTo>
                  <a:cubicBezTo>
                    <a:pt x="9266" y="220543"/>
                    <a:pt x="14270" y="218685"/>
                    <a:pt x="19273" y="218685"/>
                  </a:cubicBezTo>
                  <a:close/>
                  <a:moveTo>
                    <a:pt x="224003" y="205318"/>
                  </a:moveTo>
                  <a:cubicBezTo>
                    <a:pt x="232375" y="205318"/>
                    <a:pt x="240747" y="208604"/>
                    <a:pt x="247187" y="215174"/>
                  </a:cubicBezTo>
                  <a:cubicBezTo>
                    <a:pt x="260067" y="228315"/>
                    <a:pt x="260067" y="249341"/>
                    <a:pt x="247187" y="262482"/>
                  </a:cubicBezTo>
                  <a:cubicBezTo>
                    <a:pt x="234307" y="275624"/>
                    <a:pt x="213699" y="275624"/>
                    <a:pt x="200818" y="262482"/>
                  </a:cubicBezTo>
                  <a:cubicBezTo>
                    <a:pt x="188306" y="249341"/>
                    <a:pt x="188306" y="228315"/>
                    <a:pt x="200818" y="215174"/>
                  </a:cubicBezTo>
                  <a:cubicBezTo>
                    <a:pt x="207259" y="208604"/>
                    <a:pt x="215631" y="205318"/>
                    <a:pt x="224003" y="205318"/>
                  </a:cubicBezTo>
                  <a:close/>
                  <a:moveTo>
                    <a:pt x="428279" y="182871"/>
                  </a:moveTo>
                  <a:cubicBezTo>
                    <a:pt x="442487" y="182871"/>
                    <a:pt x="456694" y="188365"/>
                    <a:pt x="467652" y="199351"/>
                  </a:cubicBezTo>
                  <a:cubicBezTo>
                    <a:pt x="489567" y="221325"/>
                    <a:pt x="489567" y="256334"/>
                    <a:pt x="467652" y="278307"/>
                  </a:cubicBezTo>
                  <a:cubicBezTo>
                    <a:pt x="445737" y="300281"/>
                    <a:pt x="410821" y="300281"/>
                    <a:pt x="388906" y="278307"/>
                  </a:cubicBezTo>
                  <a:cubicBezTo>
                    <a:pt x="366991" y="256706"/>
                    <a:pt x="366991" y="221325"/>
                    <a:pt x="388906" y="199351"/>
                  </a:cubicBezTo>
                  <a:cubicBezTo>
                    <a:pt x="399864" y="188365"/>
                    <a:pt x="414071" y="182871"/>
                    <a:pt x="428279" y="182871"/>
                  </a:cubicBezTo>
                  <a:close/>
                  <a:moveTo>
                    <a:pt x="121049" y="110842"/>
                  </a:moveTo>
                  <a:cubicBezTo>
                    <a:pt x="127512" y="110842"/>
                    <a:pt x="133929" y="113340"/>
                    <a:pt x="138696" y="118337"/>
                  </a:cubicBezTo>
                  <a:cubicBezTo>
                    <a:pt x="148597" y="128329"/>
                    <a:pt x="148597" y="144244"/>
                    <a:pt x="138696" y="154236"/>
                  </a:cubicBezTo>
                  <a:cubicBezTo>
                    <a:pt x="129162" y="163859"/>
                    <a:pt x="113028" y="163859"/>
                    <a:pt x="103128" y="154236"/>
                  </a:cubicBezTo>
                  <a:cubicBezTo>
                    <a:pt x="93227" y="144244"/>
                    <a:pt x="93227" y="128329"/>
                    <a:pt x="103128" y="118337"/>
                  </a:cubicBezTo>
                  <a:cubicBezTo>
                    <a:pt x="108078" y="113340"/>
                    <a:pt x="114587" y="110842"/>
                    <a:pt x="121049" y="110842"/>
                  </a:cubicBezTo>
                  <a:close/>
                  <a:moveTo>
                    <a:pt x="325683" y="92919"/>
                  </a:moveTo>
                  <a:cubicBezTo>
                    <a:pt x="336593" y="92919"/>
                    <a:pt x="347550" y="97219"/>
                    <a:pt x="356092" y="105817"/>
                  </a:cubicBezTo>
                  <a:cubicBezTo>
                    <a:pt x="373177" y="122641"/>
                    <a:pt x="373177" y="149558"/>
                    <a:pt x="356092" y="166756"/>
                  </a:cubicBezTo>
                  <a:cubicBezTo>
                    <a:pt x="339007" y="183579"/>
                    <a:pt x="312638" y="183579"/>
                    <a:pt x="295553" y="166756"/>
                  </a:cubicBezTo>
                  <a:cubicBezTo>
                    <a:pt x="278840" y="149558"/>
                    <a:pt x="278468" y="122641"/>
                    <a:pt x="295553" y="105817"/>
                  </a:cubicBezTo>
                  <a:cubicBezTo>
                    <a:pt x="303910" y="97219"/>
                    <a:pt x="314773" y="92919"/>
                    <a:pt x="325683" y="92919"/>
                  </a:cubicBezTo>
                  <a:close/>
                  <a:moveTo>
                    <a:pt x="224003" y="0"/>
                  </a:moveTo>
                  <a:cubicBezTo>
                    <a:pt x="232375" y="-47"/>
                    <a:pt x="240747" y="3144"/>
                    <a:pt x="247187" y="9715"/>
                  </a:cubicBezTo>
                  <a:cubicBezTo>
                    <a:pt x="260067" y="22480"/>
                    <a:pt x="260067" y="44257"/>
                    <a:pt x="247187" y="57022"/>
                  </a:cubicBezTo>
                  <a:cubicBezTo>
                    <a:pt x="234307" y="70163"/>
                    <a:pt x="213699" y="69788"/>
                    <a:pt x="200818" y="57022"/>
                  </a:cubicBezTo>
                  <a:cubicBezTo>
                    <a:pt x="188306" y="43881"/>
                    <a:pt x="188306" y="22856"/>
                    <a:pt x="200818" y="9715"/>
                  </a:cubicBezTo>
                  <a:cubicBezTo>
                    <a:pt x="207259" y="3332"/>
                    <a:pt x="215631" y="47"/>
                    <a:pt x="224003" y="0"/>
                  </a:cubicBezTo>
                  <a:close/>
                </a:path>
              </a:pathLst>
            </a:custGeom>
            <a:solidFill>
              <a:srgbClr val="EC6602"/>
            </a:solidFill>
            <a:ln w="9525" cap="flat">
              <a:noFill/>
              <a:bevel/>
              <a:headEnd/>
              <a:tailEnd/>
            </a:ln>
            <a:effectLst/>
          </p:spPr>
          <p:txBody>
            <a:bodyPr wrap="square" anchor="ctr">
              <a:prstTxWarp prst="textNoShape">
                <a:avLst/>
              </a:prstTxWarp>
              <a:noAutofit/>
            </a:bodyPr>
            <a:lstStyle/>
            <a:p>
              <a:pPr marL="0" marR="0" lvl="0" indent="0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rPr>
                <a:t> </a:t>
              </a:r>
            </a:p>
          </p:txBody>
        </p:sp>
        <p:sp>
          <p:nvSpPr>
            <p:cNvPr id="497" name="Freihandform 496"/>
            <p:cNvSpPr>
              <a:spLocks noChangeAspect="1" noChangeArrowheads="1"/>
            </p:cNvSpPr>
            <p:nvPr/>
          </p:nvSpPr>
          <p:spPr bwMode="auto">
            <a:xfrm>
              <a:off x="7307072" y="2453653"/>
              <a:ext cx="1597948" cy="254396"/>
            </a:xfrm>
            <a:custGeom>
              <a:avLst/>
              <a:gdLst>
                <a:gd name="connsiteX0" fmla="*/ 1157347 w 1597949"/>
                <a:gd name="connsiteY0" fmla="*/ 4931 h 254396"/>
                <a:gd name="connsiteX1" fmla="*/ 1235941 w 1597949"/>
                <a:gd name="connsiteY1" fmla="*/ 4931 h 254396"/>
                <a:gd name="connsiteX2" fmla="*/ 1319354 w 1597949"/>
                <a:gd name="connsiteY2" fmla="*/ 168700 h 254396"/>
                <a:gd name="connsiteX3" fmla="*/ 1319354 w 1597949"/>
                <a:gd name="connsiteY3" fmla="*/ 4931 h 254396"/>
                <a:gd name="connsiteX4" fmla="*/ 1366807 w 1597949"/>
                <a:gd name="connsiteY4" fmla="*/ 4931 h 254396"/>
                <a:gd name="connsiteX5" fmla="*/ 1366807 w 1597949"/>
                <a:gd name="connsiteY5" fmla="*/ 249463 h 254396"/>
                <a:gd name="connsiteX6" fmla="*/ 1291179 w 1597949"/>
                <a:gd name="connsiteY6" fmla="*/ 249463 h 254396"/>
                <a:gd name="connsiteX7" fmla="*/ 1205170 w 1597949"/>
                <a:gd name="connsiteY7" fmla="*/ 83451 h 254396"/>
                <a:gd name="connsiteX8" fmla="*/ 1205170 w 1597949"/>
                <a:gd name="connsiteY8" fmla="*/ 249463 h 254396"/>
                <a:gd name="connsiteX9" fmla="*/ 1157347 w 1597949"/>
                <a:gd name="connsiteY9" fmla="*/ 249463 h 254396"/>
                <a:gd name="connsiteX10" fmla="*/ 936042 w 1597949"/>
                <a:gd name="connsiteY10" fmla="*/ 4931 h 254396"/>
                <a:gd name="connsiteX11" fmla="*/ 1110117 w 1597949"/>
                <a:gd name="connsiteY11" fmla="*/ 4931 h 254396"/>
                <a:gd name="connsiteX12" fmla="*/ 1110117 w 1597949"/>
                <a:gd name="connsiteY12" fmla="*/ 49052 h 254396"/>
                <a:gd name="connsiteX13" fmla="*/ 1001367 w 1597949"/>
                <a:gd name="connsiteY13" fmla="*/ 49052 h 254396"/>
                <a:gd name="connsiteX14" fmla="*/ 1001367 w 1597949"/>
                <a:gd name="connsiteY14" fmla="*/ 104015 h 254396"/>
                <a:gd name="connsiteX15" fmla="*/ 1096013 w 1597949"/>
                <a:gd name="connsiteY15" fmla="*/ 104015 h 254396"/>
                <a:gd name="connsiteX16" fmla="*/ 1096013 w 1597949"/>
                <a:gd name="connsiteY16" fmla="*/ 144771 h 254396"/>
                <a:gd name="connsiteX17" fmla="*/ 1001367 w 1597949"/>
                <a:gd name="connsiteY17" fmla="*/ 144771 h 254396"/>
                <a:gd name="connsiteX18" fmla="*/ 1001367 w 1597949"/>
                <a:gd name="connsiteY18" fmla="*/ 202725 h 254396"/>
                <a:gd name="connsiteX19" fmla="*/ 1112716 w 1597949"/>
                <a:gd name="connsiteY19" fmla="*/ 202725 h 254396"/>
                <a:gd name="connsiteX20" fmla="*/ 1112716 w 1597949"/>
                <a:gd name="connsiteY20" fmla="*/ 249463 h 254396"/>
                <a:gd name="connsiteX21" fmla="*/ 936042 w 1597949"/>
                <a:gd name="connsiteY21" fmla="*/ 249463 h 254396"/>
                <a:gd name="connsiteX22" fmla="*/ 577034 w 1597949"/>
                <a:gd name="connsiteY22" fmla="*/ 4931 h 254396"/>
                <a:gd name="connsiteX23" fmla="*/ 665266 w 1597949"/>
                <a:gd name="connsiteY23" fmla="*/ 4931 h 254396"/>
                <a:gd name="connsiteX24" fmla="*/ 725949 w 1597949"/>
                <a:gd name="connsiteY24" fmla="*/ 160843 h 254396"/>
                <a:gd name="connsiteX25" fmla="*/ 789611 w 1597949"/>
                <a:gd name="connsiteY25" fmla="*/ 4931 h 254396"/>
                <a:gd name="connsiteX26" fmla="*/ 873375 w 1597949"/>
                <a:gd name="connsiteY26" fmla="*/ 4931 h 254396"/>
                <a:gd name="connsiteX27" fmla="*/ 873375 w 1597949"/>
                <a:gd name="connsiteY27" fmla="*/ 248870 h 254396"/>
                <a:gd name="connsiteX28" fmla="*/ 808225 w 1597949"/>
                <a:gd name="connsiteY28" fmla="*/ 248870 h 254396"/>
                <a:gd name="connsiteX29" fmla="*/ 808225 w 1597949"/>
                <a:gd name="connsiteY29" fmla="*/ 75800 h 254396"/>
                <a:gd name="connsiteX30" fmla="*/ 737118 w 1597949"/>
                <a:gd name="connsiteY30" fmla="*/ 251108 h 254396"/>
                <a:gd name="connsiteX31" fmla="*/ 694677 w 1597949"/>
                <a:gd name="connsiteY31" fmla="*/ 251108 h 254396"/>
                <a:gd name="connsiteX32" fmla="*/ 625059 w 1597949"/>
                <a:gd name="connsiteY32" fmla="*/ 75800 h 254396"/>
                <a:gd name="connsiteX33" fmla="*/ 625059 w 1597949"/>
                <a:gd name="connsiteY33" fmla="*/ 248870 h 254396"/>
                <a:gd name="connsiteX34" fmla="*/ 577034 w 1597949"/>
                <a:gd name="connsiteY34" fmla="*/ 248870 h 254396"/>
                <a:gd name="connsiteX35" fmla="*/ 355729 w 1597949"/>
                <a:gd name="connsiteY35" fmla="*/ 4931 h 254396"/>
                <a:gd name="connsiteX36" fmla="*/ 530170 w 1597949"/>
                <a:gd name="connsiteY36" fmla="*/ 4931 h 254396"/>
                <a:gd name="connsiteX37" fmla="*/ 530170 w 1597949"/>
                <a:gd name="connsiteY37" fmla="*/ 49052 h 254396"/>
                <a:gd name="connsiteX38" fmla="*/ 420819 w 1597949"/>
                <a:gd name="connsiteY38" fmla="*/ 49052 h 254396"/>
                <a:gd name="connsiteX39" fmla="*/ 420819 w 1597949"/>
                <a:gd name="connsiteY39" fmla="*/ 104015 h 254396"/>
                <a:gd name="connsiteX40" fmla="*/ 516036 w 1597949"/>
                <a:gd name="connsiteY40" fmla="*/ 104015 h 254396"/>
                <a:gd name="connsiteX41" fmla="*/ 516036 w 1597949"/>
                <a:gd name="connsiteY41" fmla="*/ 144771 h 254396"/>
                <a:gd name="connsiteX42" fmla="*/ 420819 w 1597949"/>
                <a:gd name="connsiteY42" fmla="*/ 144771 h 254396"/>
                <a:gd name="connsiteX43" fmla="*/ 420819 w 1597949"/>
                <a:gd name="connsiteY43" fmla="*/ 202725 h 254396"/>
                <a:gd name="connsiteX44" fmla="*/ 532402 w 1597949"/>
                <a:gd name="connsiteY44" fmla="*/ 202725 h 254396"/>
                <a:gd name="connsiteX45" fmla="*/ 532402 w 1597949"/>
                <a:gd name="connsiteY45" fmla="*/ 249463 h 254396"/>
                <a:gd name="connsiteX46" fmla="*/ 355729 w 1597949"/>
                <a:gd name="connsiteY46" fmla="*/ 249463 h 254396"/>
                <a:gd name="connsiteX47" fmla="*/ 226224 w 1597949"/>
                <a:gd name="connsiteY47" fmla="*/ 4931 h 254396"/>
                <a:gd name="connsiteX48" fmla="*/ 293068 w 1597949"/>
                <a:gd name="connsiteY48" fmla="*/ 4931 h 254396"/>
                <a:gd name="connsiteX49" fmla="*/ 293068 w 1597949"/>
                <a:gd name="connsiteY49" fmla="*/ 249464 h 254396"/>
                <a:gd name="connsiteX50" fmla="*/ 259646 w 1597949"/>
                <a:gd name="connsiteY50" fmla="*/ 249464 h 254396"/>
                <a:gd name="connsiteX51" fmla="*/ 226224 w 1597949"/>
                <a:gd name="connsiteY51" fmla="*/ 249464 h 254396"/>
                <a:gd name="connsiteX52" fmla="*/ 1509330 w 1597949"/>
                <a:gd name="connsiteY52" fmla="*/ 0 h 254396"/>
                <a:gd name="connsiteX53" fmla="*/ 1573106 w 1597949"/>
                <a:gd name="connsiteY53" fmla="*/ 7806 h 254396"/>
                <a:gd name="connsiteX54" fmla="*/ 1579039 w 1597949"/>
                <a:gd name="connsiteY54" fmla="*/ 8921 h 254396"/>
                <a:gd name="connsiteX55" fmla="*/ 1579039 w 1597949"/>
                <a:gd name="connsiteY55" fmla="*/ 55011 h 254396"/>
                <a:gd name="connsiteX56" fmla="*/ 1516004 w 1597949"/>
                <a:gd name="connsiteY56" fmla="*/ 41630 h 254396"/>
                <a:gd name="connsiteX57" fmla="*/ 1475217 w 1597949"/>
                <a:gd name="connsiteY57" fmla="*/ 63932 h 254396"/>
                <a:gd name="connsiteX58" fmla="*/ 1483745 w 1597949"/>
                <a:gd name="connsiteY58" fmla="*/ 78056 h 254396"/>
                <a:gd name="connsiteX59" fmla="*/ 1521195 w 1597949"/>
                <a:gd name="connsiteY59" fmla="*/ 96641 h 254396"/>
                <a:gd name="connsiteX60" fmla="*/ 1580522 w 1597949"/>
                <a:gd name="connsiteY60" fmla="*/ 130837 h 254396"/>
                <a:gd name="connsiteX61" fmla="*/ 1597949 w 1597949"/>
                <a:gd name="connsiteY61" fmla="*/ 175812 h 254396"/>
                <a:gd name="connsiteX62" fmla="*/ 1563466 w 1597949"/>
                <a:gd name="connsiteY62" fmla="*/ 236027 h 254396"/>
                <a:gd name="connsiteX63" fmla="*/ 1491532 w 1597949"/>
                <a:gd name="connsiteY63" fmla="*/ 252753 h 254396"/>
                <a:gd name="connsiteX64" fmla="*/ 1415890 w 1597949"/>
                <a:gd name="connsiteY64" fmla="*/ 243833 h 254396"/>
                <a:gd name="connsiteX65" fmla="*/ 1415890 w 1597949"/>
                <a:gd name="connsiteY65" fmla="*/ 195884 h 254396"/>
                <a:gd name="connsiteX66" fmla="*/ 1488565 w 1597949"/>
                <a:gd name="connsiteY66" fmla="*/ 208893 h 254396"/>
                <a:gd name="connsiteX67" fmla="*/ 1532319 w 1597949"/>
                <a:gd name="connsiteY67" fmla="*/ 186220 h 254396"/>
                <a:gd name="connsiteX68" fmla="*/ 1526386 w 1597949"/>
                <a:gd name="connsiteY68" fmla="*/ 171724 h 254396"/>
                <a:gd name="connsiteX69" fmla="*/ 1493015 w 1597949"/>
                <a:gd name="connsiteY69" fmla="*/ 154254 h 254396"/>
                <a:gd name="connsiteX70" fmla="*/ 1430351 w 1597949"/>
                <a:gd name="connsiteY70" fmla="*/ 120430 h 254396"/>
                <a:gd name="connsiteX71" fmla="*/ 1411440 w 1597949"/>
                <a:gd name="connsiteY71" fmla="*/ 73596 h 254396"/>
                <a:gd name="connsiteX72" fmla="*/ 1438879 w 1597949"/>
                <a:gd name="connsiteY72" fmla="*/ 18957 h 254396"/>
                <a:gd name="connsiteX73" fmla="*/ 1509330 w 1597949"/>
                <a:gd name="connsiteY73" fmla="*/ 0 h 254396"/>
                <a:gd name="connsiteX74" fmla="*/ 97518 w 1597949"/>
                <a:gd name="connsiteY74" fmla="*/ 0 h 254396"/>
                <a:gd name="connsiteX75" fmla="*/ 166857 w 1597949"/>
                <a:gd name="connsiteY75" fmla="*/ 8966 h 254396"/>
                <a:gd name="connsiteX76" fmla="*/ 166857 w 1597949"/>
                <a:gd name="connsiteY76" fmla="*/ 55661 h 254396"/>
                <a:gd name="connsiteX77" fmla="*/ 104564 w 1597949"/>
                <a:gd name="connsiteY77" fmla="*/ 42213 h 254396"/>
                <a:gd name="connsiteX78" fmla="*/ 64147 w 1597949"/>
                <a:gd name="connsiteY78" fmla="*/ 64626 h 254396"/>
                <a:gd name="connsiteX79" fmla="*/ 72675 w 1597949"/>
                <a:gd name="connsiteY79" fmla="*/ 78448 h 254396"/>
                <a:gd name="connsiteX80" fmla="*/ 109755 w 1597949"/>
                <a:gd name="connsiteY80" fmla="*/ 97126 h 254396"/>
                <a:gd name="connsiteX81" fmla="*/ 169082 w 1597949"/>
                <a:gd name="connsiteY81" fmla="*/ 131494 h 254396"/>
                <a:gd name="connsiteX82" fmla="*/ 186509 w 1597949"/>
                <a:gd name="connsiteY82" fmla="*/ 176695 h 254396"/>
                <a:gd name="connsiteX83" fmla="*/ 152025 w 1597949"/>
                <a:gd name="connsiteY83" fmla="*/ 237212 h 254396"/>
                <a:gd name="connsiteX84" fmla="*/ 80462 w 1597949"/>
                <a:gd name="connsiteY84" fmla="*/ 254396 h 254396"/>
                <a:gd name="connsiteX85" fmla="*/ 4820 w 1597949"/>
                <a:gd name="connsiteY85" fmla="*/ 244683 h 254396"/>
                <a:gd name="connsiteX86" fmla="*/ 4820 w 1597949"/>
                <a:gd name="connsiteY86" fmla="*/ 196494 h 254396"/>
                <a:gd name="connsiteX87" fmla="*/ 77496 w 1597949"/>
                <a:gd name="connsiteY87" fmla="*/ 209568 h 254396"/>
                <a:gd name="connsiteX88" fmla="*/ 120878 w 1597949"/>
                <a:gd name="connsiteY88" fmla="*/ 186781 h 254396"/>
                <a:gd name="connsiteX89" fmla="*/ 114204 w 1597949"/>
                <a:gd name="connsiteY89" fmla="*/ 172212 h 254396"/>
                <a:gd name="connsiteX90" fmla="*/ 81574 w 1597949"/>
                <a:gd name="connsiteY90" fmla="*/ 154655 h 254396"/>
                <a:gd name="connsiteX91" fmla="*/ 18910 w 1597949"/>
                <a:gd name="connsiteY91" fmla="*/ 120661 h 254396"/>
                <a:gd name="connsiteX92" fmla="*/ 0 w 1597949"/>
                <a:gd name="connsiteY92" fmla="*/ 73965 h 254396"/>
                <a:gd name="connsiteX93" fmla="*/ 27438 w 1597949"/>
                <a:gd name="connsiteY93" fmla="*/ 19052 h 254396"/>
                <a:gd name="connsiteX94" fmla="*/ 97518 w 1597949"/>
                <a:gd name="connsiteY94" fmla="*/ 0 h 254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597949" h="254396">
                  <a:moveTo>
                    <a:pt x="1157347" y="4931"/>
                  </a:moveTo>
                  <a:lnTo>
                    <a:pt x="1235941" y="4931"/>
                  </a:lnTo>
                  <a:lnTo>
                    <a:pt x="1319354" y="168700"/>
                  </a:lnTo>
                  <a:lnTo>
                    <a:pt x="1319354" y="4931"/>
                  </a:lnTo>
                  <a:lnTo>
                    <a:pt x="1366807" y="4931"/>
                  </a:lnTo>
                  <a:lnTo>
                    <a:pt x="1366807" y="249463"/>
                  </a:lnTo>
                  <a:lnTo>
                    <a:pt x="1291179" y="249463"/>
                  </a:lnTo>
                  <a:lnTo>
                    <a:pt x="1205170" y="83451"/>
                  </a:lnTo>
                  <a:lnTo>
                    <a:pt x="1205170" y="249463"/>
                  </a:lnTo>
                  <a:lnTo>
                    <a:pt x="1157347" y="249463"/>
                  </a:lnTo>
                  <a:close/>
                  <a:moveTo>
                    <a:pt x="936042" y="4931"/>
                  </a:moveTo>
                  <a:lnTo>
                    <a:pt x="1110117" y="4931"/>
                  </a:lnTo>
                  <a:lnTo>
                    <a:pt x="1110117" y="49052"/>
                  </a:lnTo>
                  <a:lnTo>
                    <a:pt x="1001367" y="49052"/>
                  </a:lnTo>
                  <a:lnTo>
                    <a:pt x="1001367" y="104015"/>
                  </a:lnTo>
                  <a:lnTo>
                    <a:pt x="1096013" y="104015"/>
                  </a:lnTo>
                  <a:lnTo>
                    <a:pt x="1096013" y="144771"/>
                  </a:lnTo>
                  <a:lnTo>
                    <a:pt x="1001367" y="144771"/>
                  </a:lnTo>
                  <a:lnTo>
                    <a:pt x="1001367" y="202725"/>
                  </a:lnTo>
                  <a:lnTo>
                    <a:pt x="1112716" y="202725"/>
                  </a:lnTo>
                  <a:lnTo>
                    <a:pt x="1112716" y="249463"/>
                  </a:lnTo>
                  <a:lnTo>
                    <a:pt x="936042" y="249463"/>
                  </a:lnTo>
                  <a:close/>
                  <a:moveTo>
                    <a:pt x="577034" y="4931"/>
                  </a:moveTo>
                  <a:lnTo>
                    <a:pt x="665266" y="4931"/>
                  </a:lnTo>
                  <a:lnTo>
                    <a:pt x="725949" y="160843"/>
                  </a:lnTo>
                  <a:lnTo>
                    <a:pt x="789611" y="4931"/>
                  </a:lnTo>
                  <a:lnTo>
                    <a:pt x="873375" y="4931"/>
                  </a:lnTo>
                  <a:lnTo>
                    <a:pt x="873375" y="248870"/>
                  </a:lnTo>
                  <a:lnTo>
                    <a:pt x="808225" y="248870"/>
                  </a:lnTo>
                  <a:lnTo>
                    <a:pt x="808225" y="75800"/>
                  </a:lnTo>
                  <a:lnTo>
                    <a:pt x="737118" y="251108"/>
                  </a:lnTo>
                  <a:lnTo>
                    <a:pt x="694677" y="251108"/>
                  </a:lnTo>
                  <a:lnTo>
                    <a:pt x="625059" y="75800"/>
                  </a:lnTo>
                  <a:lnTo>
                    <a:pt x="625059" y="248870"/>
                  </a:lnTo>
                  <a:lnTo>
                    <a:pt x="577034" y="248870"/>
                  </a:lnTo>
                  <a:close/>
                  <a:moveTo>
                    <a:pt x="355729" y="4931"/>
                  </a:moveTo>
                  <a:lnTo>
                    <a:pt x="530170" y="4931"/>
                  </a:lnTo>
                  <a:lnTo>
                    <a:pt x="530170" y="49052"/>
                  </a:lnTo>
                  <a:lnTo>
                    <a:pt x="420819" y="49052"/>
                  </a:lnTo>
                  <a:lnTo>
                    <a:pt x="420819" y="104015"/>
                  </a:lnTo>
                  <a:lnTo>
                    <a:pt x="516036" y="104015"/>
                  </a:lnTo>
                  <a:lnTo>
                    <a:pt x="516036" y="144771"/>
                  </a:lnTo>
                  <a:lnTo>
                    <a:pt x="420819" y="144771"/>
                  </a:lnTo>
                  <a:lnTo>
                    <a:pt x="420819" y="202725"/>
                  </a:lnTo>
                  <a:lnTo>
                    <a:pt x="532402" y="202725"/>
                  </a:lnTo>
                  <a:lnTo>
                    <a:pt x="532402" y="249463"/>
                  </a:lnTo>
                  <a:lnTo>
                    <a:pt x="355729" y="249463"/>
                  </a:lnTo>
                  <a:close/>
                  <a:moveTo>
                    <a:pt x="226224" y="4931"/>
                  </a:moveTo>
                  <a:lnTo>
                    <a:pt x="293068" y="4931"/>
                  </a:lnTo>
                  <a:lnTo>
                    <a:pt x="293068" y="249464"/>
                  </a:lnTo>
                  <a:lnTo>
                    <a:pt x="259646" y="249464"/>
                  </a:lnTo>
                  <a:lnTo>
                    <a:pt x="226224" y="249464"/>
                  </a:lnTo>
                  <a:close/>
                  <a:moveTo>
                    <a:pt x="1509330" y="0"/>
                  </a:moveTo>
                  <a:cubicBezTo>
                    <a:pt x="1525645" y="0"/>
                    <a:pt x="1546780" y="2230"/>
                    <a:pt x="1573106" y="7806"/>
                  </a:cubicBezTo>
                  <a:lnTo>
                    <a:pt x="1579039" y="8921"/>
                  </a:lnTo>
                  <a:lnTo>
                    <a:pt x="1579039" y="55011"/>
                  </a:lnTo>
                  <a:cubicBezTo>
                    <a:pt x="1556421" y="46090"/>
                    <a:pt x="1535285" y="41630"/>
                    <a:pt x="1516004" y="41630"/>
                  </a:cubicBezTo>
                  <a:cubicBezTo>
                    <a:pt x="1488565" y="41630"/>
                    <a:pt x="1475217" y="49064"/>
                    <a:pt x="1475217" y="63932"/>
                  </a:cubicBezTo>
                  <a:cubicBezTo>
                    <a:pt x="1475217" y="69507"/>
                    <a:pt x="1477812" y="73968"/>
                    <a:pt x="1483745" y="78056"/>
                  </a:cubicBezTo>
                  <a:cubicBezTo>
                    <a:pt x="1488195" y="81030"/>
                    <a:pt x="1500431" y="86977"/>
                    <a:pt x="1521195" y="96641"/>
                  </a:cubicBezTo>
                  <a:cubicBezTo>
                    <a:pt x="1550488" y="109279"/>
                    <a:pt x="1570511" y="120801"/>
                    <a:pt x="1580522" y="130837"/>
                  </a:cubicBezTo>
                  <a:cubicBezTo>
                    <a:pt x="1592017" y="142360"/>
                    <a:pt x="1597949" y="157228"/>
                    <a:pt x="1597949" y="175812"/>
                  </a:cubicBezTo>
                  <a:cubicBezTo>
                    <a:pt x="1597949" y="202203"/>
                    <a:pt x="1586455" y="221903"/>
                    <a:pt x="1563466" y="236027"/>
                  </a:cubicBezTo>
                  <a:cubicBezTo>
                    <a:pt x="1544555" y="247178"/>
                    <a:pt x="1520824" y="252753"/>
                    <a:pt x="1491532" y="252753"/>
                  </a:cubicBezTo>
                  <a:cubicBezTo>
                    <a:pt x="1466689" y="252753"/>
                    <a:pt x="1441475" y="249780"/>
                    <a:pt x="1415890" y="243833"/>
                  </a:cubicBezTo>
                  <a:lnTo>
                    <a:pt x="1415890" y="195884"/>
                  </a:lnTo>
                  <a:cubicBezTo>
                    <a:pt x="1442958" y="204433"/>
                    <a:pt x="1467059" y="208893"/>
                    <a:pt x="1488565" y="208893"/>
                  </a:cubicBezTo>
                  <a:cubicBezTo>
                    <a:pt x="1517487" y="208893"/>
                    <a:pt x="1532319" y="201459"/>
                    <a:pt x="1532319" y="186220"/>
                  </a:cubicBezTo>
                  <a:cubicBezTo>
                    <a:pt x="1532319" y="180273"/>
                    <a:pt x="1530465" y="175812"/>
                    <a:pt x="1526386" y="171724"/>
                  </a:cubicBezTo>
                  <a:cubicBezTo>
                    <a:pt x="1521937" y="167635"/>
                    <a:pt x="1510813" y="161688"/>
                    <a:pt x="1493015" y="154254"/>
                  </a:cubicBezTo>
                  <a:cubicBezTo>
                    <a:pt x="1461127" y="141245"/>
                    <a:pt x="1440362" y="129722"/>
                    <a:pt x="1430351" y="120430"/>
                  </a:cubicBezTo>
                  <a:cubicBezTo>
                    <a:pt x="1418115" y="108535"/>
                    <a:pt x="1411440" y="92552"/>
                    <a:pt x="1411440" y="73596"/>
                  </a:cubicBezTo>
                  <a:cubicBezTo>
                    <a:pt x="1411440" y="49807"/>
                    <a:pt x="1420339" y="31223"/>
                    <a:pt x="1438879" y="18957"/>
                  </a:cubicBezTo>
                  <a:cubicBezTo>
                    <a:pt x="1456677" y="6319"/>
                    <a:pt x="1480779" y="0"/>
                    <a:pt x="1509330" y="0"/>
                  </a:cubicBezTo>
                  <a:close/>
                  <a:moveTo>
                    <a:pt x="97518" y="0"/>
                  </a:moveTo>
                  <a:cubicBezTo>
                    <a:pt x="113463" y="0"/>
                    <a:pt x="136823" y="2989"/>
                    <a:pt x="166857" y="8966"/>
                  </a:cubicBezTo>
                  <a:lnTo>
                    <a:pt x="166857" y="55661"/>
                  </a:lnTo>
                  <a:cubicBezTo>
                    <a:pt x="144609" y="46695"/>
                    <a:pt x="123845" y="42213"/>
                    <a:pt x="104564" y="42213"/>
                  </a:cubicBezTo>
                  <a:cubicBezTo>
                    <a:pt x="77496" y="42213"/>
                    <a:pt x="64147" y="49684"/>
                    <a:pt x="64147" y="64626"/>
                  </a:cubicBezTo>
                  <a:cubicBezTo>
                    <a:pt x="64147" y="70230"/>
                    <a:pt x="67113" y="74712"/>
                    <a:pt x="72675" y="78448"/>
                  </a:cubicBezTo>
                  <a:cubicBezTo>
                    <a:pt x="77125" y="81437"/>
                    <a:pt x="89732" y="87414"/>
                    <a:pt x="109755" y="97126"/>
                  </a:cubicBezTo>
                  <a:cubicBezTo>
                    <a:pt x="139789" y="110201"/>
                    <a:pt x="159441" y="121408"/>
                    <a:pt x="169082" y="131494"/>
                  </a:cubicBezTo>
                  <a:cubicBezTo>
                    <a:pt x="180947" y="142701"/>
                    <a:pt x="186509" y="158017"/>
                    <a:pt x="186509" y="176695"/>
                  </a:cubicBezTo>
                  <a:cubicBezTo>
                    <a:pt x="186509" y="203218"/>
                    <a:pt x="175014" y="223016"/>
                    <a:pt x="152025" y="237212"/>
                  </a:cubicBezTo>
                  <a:cubicBezTo>
                    <a:pt x="133856" y="248792"/>
                    <a:pt x="109384" y="254396"/>
                    <a:pt x="80462" y="254396"/>
                  </a:cubicBezTo>
                  <a:cubicBezTo>
                    <a:pt x="55619" y="253648"/>
                    <a:pt x="30405" y="250660"/>
                    <a:pt x="4820" y="244683"/>
                  </a:cubicBezTo>
                  <a:lnTo>
                    <a:pt x="4820" y="196494"/>
                  </a:lnTo>
                  <a:cubicBezTo>
                    <a:pt x="32259" y="205085"/>
                    <a:pt x="56731" y="209568"/>
                    <a:pt x="77496" y="209568"/>
                  </a:cubicBezTo>
                  <a:cubicBezTo>
                    <a:pt x="106047" y="209568"/>
                    <a:pt x="120878" y="202097"/>
                    <a:pt x="120878" y="186781"/>
                  </a:cubicBezTo>
                  <a:cubicBezTo>
                    <a:pt x="120878" y="180804"/>
                    <a:pt x="119025" y="176321"/>
                    <a:pt x="114204" y="172212"/>
                  </a:cubicBezTo>
                  <a:cubicBezTo>
                    <a:pt x="109755" y="168103"/>
                    <a:pt x="99002" y="162126"/>
                    <a:pt x="81574" y="154655"/>
                  </a:cubicBezTo>
                  <a:cubicBezTo>
                    <a:pt x="49686" y="141580"/>
                    <a:pt x="28922" y="130000"/>
                    <a:pt x="18910" y="120661"/>
                  </a:cubicBezTo>
                  <a:cubicBezTo>
                    <a:pt x="6303" y="107959"/>
                    <a:pt x="0" y="92643"/>
                    <a:pt x="0" y="73965"/>
                  </a:cubicBezTo>
                  <a:cubicBezTo>
                    <a:pt x="0" y="50057"/>
                    <a:pt x="8899" y="31379"/>
                    <a:pt x="27438" y="19052"/>
                  </a:cubicBezTo>
                  <a:cubicBezTo>
                    <a:pt x="45237" y="6351"/>
                    <a:pt x="68967" y="0"/>
                    <a:pt x="97518" y="0"/>
                  </a:cubicBezTo>
                  <a:close/>
                </a:path>
              </a:pathLst>
            </a:custGeom>
            <a:solidFill>
              <a:srgbClr val="009999"/>
            </a:solidFill>
            <a:ln w="9525" cap="flat">
              <a:noFill/>
              <a:bevel/>
              <a:headEnd/>
              <a:tailEnd/>
            </a:ln>
            <a:effectLst/>
          </p:spPr>
          <p:txBody>
            <a:bodyPr wrap="square" anchor="ctr">
              <a:prstTxWarp prst="textNoShape">
                <a:avLst/>
              </a:prstTxWarp>
              <a:noAutofit/>
            </a:bodyPr>
            <a:lstStyle/>
            <a:p>
              <a:pPr marL="0" marR="0" lvl="0" indent="0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"/>
                <a:cs typeface=""/>
              </a:endParaRPr>
            </a:p>
          </p:txBody>
        </p:sp>
        <p:sp>
          <p:nvSpPr>
            <p:cNvPr id="498" name="Freihandform 497"/>
            <p:cNvSpPr>
              <a:spLocks noChangeAspect="1" noChangeArrowheads="1"/>
            </p:cNvSpPr>
            <p:nvPr/>
          </p:nvSpPr>
          <p:spPr bwMode="auto">
            <a:xfrm>
              <a:off x="6613648" y="2798826"/>
              <a:ext cx="2292197" cy="316855"/>
            </a:xfrm>
            <a:custGeom>
              <a:avLst/>
              <a:gdLst>
                <a:gd name="connsiteX0" fmla="*/ 561040 w 2292197"/>
                <a:gd name="connsiteY0" fmla="*/ 133276 h 316856"/>
                <a:gd name="connsiteX1" fmla="*/ 514756 w 2292197"/>
                <a:gd name="connsiteY1" fmla="*/ 208959 h 316856"/>
                <a:gd name="connsiteX2" fmla="*/ 553264 w 2292197"/>
                <a:gd name="connsiteY2" fmla="*/ 272711 h 316856"/>
                <a:gd name="connsiteX3" fmla="*/ 587329 w 2292197"/>
                <a:gd name="connsiteY3" fmla="*/ 241394 h 316856"/>
                <a:gd name="connsiteX4" fmla="*/ 587329 w 2292197"/>
                <a:gd name="connsiteY4" fmla="*/ 137750 h 316856"/>
                <a:gd name="connsiteX5" fmla="*/ 561040 w 2292197"/>
                <a:gd name="connsiteY5" fmla="*/ 133276 h 316856"/>
                <a:gd name="connsiteX6" fmla="*/ 1864005 w 2292197"/>
                <a:gd name="connsiteY6" fmla="*/ 131508 h 316856"/>
                <a:gd name="connsiteX7" fmla="*/ 1819277 w 2292197"/>
                <a:gd name="connsiteY7" fmla="*/ 188681 h 316856"/>
                <a:gd name="connsiteX8" fmla="*/ 1885623 w 2292197"/>
                <a:gd name="connsiteY8" fmla="*/ 152434 h 316856"/>
                <a:gd name="connsiteX9" fmla="*/ 1864005 w 2292197"/>
                <a:gd name="connsiteY9" fmla="*/ 131508 h 316856"/>
                <a:gd name="connsiteX10" fmla="*/ 1660732 w 2292197"/>
                <a:gd name="connsiteY10" fmla="*/ 131508 h 316856"/>
                <a:gd name="connsiteX11" fmla="*/ 1615632 w 2292197"/>
                <a:gd name="connsiteY11" fmla="*/ 188681 h 316856"/>
                <a:gd name="connsiteX12" fmla="*/ 1681977 w 2292197"/>
                <a:gd name="connsiteY12" fmla="*/ 152434 h 316856"/>
                <a:gd name="connsiteX13" fmla="*/ 1660732 w 2292197"/>
                <a:gd name="connsiteY13" fmla="*/ 131508 h 316856"/>
                <a:gd name="connsiteX14" fmla="*/ 351674 w 2292197"/>
                <a:gd name="connsiteY14" fmla="*/ 131508 h 316856"/>
                <a:gd name="connsiteX15" fmla="*/ 306574 w 2292197"/>
                <a:gd name="connsiteY15" fmla="*/ 188681 h 316856"/>
                <a:gd name="connsiteX16" fmla="*/ 372919 w 2292197"/>
                <a:gd name="connsiteY16" fmla="*/ 152434 h 316856"/>
                <a:gd name="connsiteX17" fmla="*/ 351674 w 2292197"/>
                <a:gd name="connsiteY17" fmla="*/ 131508 h 316856"/>
                <a:gd name="connsiteX18" fmla="*/ 1234395 w 2292197"/>
                <a:gd name="connsiteY18" fmla="*/ 96976 h 316856"/>
                <a:gd name="connsiteX19" fmla="*/ 1293037 w 2292197"/>
                <a:gd name="connsiteY19" fmla="*/ 96976 h 316856"/>
                <a:gd name="connsiteX20" fmla="*/ 1293037 w 2292197"/>
                <a:gd name="connsiteY20" fmla="*/ 310280 h 316856"/>
                <a:gd name="connsiteX21" fmla="*/ 1263529 w 2292197"/>
                <a:gd name="connsiteY21" fmla="*/ 310280 h 316856"/>
                <a:gd name="connsiteX22" fmla="*/ 1234395 w 2292197"/>
                <a:gd name="connsiteY22" fmla="*/ 310280 h 316856"/>
                <a:gd name="connsiteX23" fmla="*/ 2081174 w 2292197"/>
                <a:gd name="connsiteY23" fmla="*/ 90402 h 316856"/>
                <a:gd name="connsiteX24" fmla="*/ 2115969 w 2292197"/>
                <a:gd name="connsiteY24" fmla="*/ 97838 h 316856"/>
                <a:gd name="connsiteX25" fmla="*/ 2105604 w 2292197"/>
                <a:gd name="connsiteY25" fmla="*/ 148028 h 316856"/>
                <a:gd name="connsiteX26" fmla="*/ 2075991 w 2292197"/>
                <a:gd name="connsiteY26" fmla="*/ 140593 h 316856"/>
                <a:gd name="connsiteX27" fmla="*/ 2040826 w 2292197"/>
                <a:gd name="connsiteY27" fmla="*/ 176656 h 316856"/>
                <a:gd name="connsiteX28" fmla="*/ 2040826 w 2292197"/>
                <a:gd name="connsiteY28" fmla="*/ 308638 h 316856"/>
                <a:gd name="connsiteX29" fmla="*/ 1982710 w 2292197"/>
                <a:gd name="connsiteY29" fmla="*/ 308638 h 316856"/>
                <a:gd name="connsiteX30" fmla="*/ 1982710 w 2292197"/>
                <a:gd name="connsiteY30" fmla="*/ 133157 h 316856"/>
                <a:gd name="connsiteX31" fmla="*/ 1978638 w 2292197"/>
                <a:gd name="connsiteY31" fmla="*/ 96351 h 316856"/>
                <a:gd name="connsiteX32" fmla="*/ 2025649 w 2292197"/>
                <a:gd name="connsiteY32" fmla="*/ 96351 h 316856"/>
                <a:gd name="connsiteX33" fmla="*/ 2031202 w 2292197"/>
                <a:gd name="connsiteY33" fmla="*/ 126837 h 316856"/>
                <a:gd name="connsiteX34" fmla="*/ 2081174 w 2292197"/>
                <a:gd name="connsiteY34" fmla="*/ 90402 h 316856"/>
                <a:gd name="connsiteX35" fmla="*/ 1866986 w 2292197"/>
                <a:gd name="connsiteY35" fmla="*/ 90402 h 316856"/>
                <a:gd name="connsiteX36" fmla="*/ 1937059 w 2292197"/>
                <a:gd name="connsiteY36" fmla="*/ 152060 h 316856"/>
                <a:gd name="connsiteX37" fmla="*/ 1821141 w 2292197"/>
                <a:gd name="connsiteY37" fmla="*/ 230534 h 316856"/>
                <a:gd name="connsiteX38" fmla="*/ 1869595 w 2292197"/>
                <a:gd name="connsiteY38" fmla="*/ 272013 h 316856"/>
                <a:gd name="connsiteX39" fmla="*/ 1922150 w 2292197"/>
                <a:gd name="connsiteY39" fmla="*/ 254076 h 316856"/>
                <a:gd name="connsiteX40" fmla="*/ 1938923 w 2292197"/>
                <a:gd name="connsiteY40" fmla="*/ 293313 h 316856"/>
                <a:gd name="connsiteX41" fmla="*/ 1862141 w 2292197"/>
                <a:gd name="connsiteY41" fmla="*/ 316855 h 316856"/>
                <a:gd name="connsiteX42" fmla="*/ 1762250 w 2292197"/>
                <a:gd name="connsiteY42" fmla="*/ 208487 h 316856"/>
                <a:gd name="connsiteX43" fmla="*/ 1866986 w 2292197"/>
                <a:gd name="connsiteY43" fmla="*/ 90402 h 316856"/>
                <a:gd name="connsiteX44" fmla="*/ 1663713 w 2292197"/>
                <a:gd name="connsiteY44" fmla="*/ 90402 h 316856"/>
                <a:gd name="connsiteX45" fmla="*/ 1733413 w 2292197"/>
                <a:gd name="connsiteY45" fmla="*/ 152060 h 316856"/>
                <a:gd name="connsiteX46" fmla="*/ 1617868 w 2292197"/>
                <a:gd name="connsiteY46" fmla="*/ 230534 h 316856"/>
                <a:gd name="connsiteX47" fmla="*/ 1666322 w 2292197"/>
                <a:gd name="connsiteY47" fmla="*/ 272013 h 316856"/>
                <a:gd name="connsiteX48" fmla="*/ 1718504 w 2292197"/>
                <a:gd name="connsiteY48" fmla="*/ 254076 h 316856"/>
                <a:gd name="connsiteX49" fmla="*/ 1735650 w 2292197"/>
                <a:gd name="connsiteY49" fmla="*/ 293313 h 316856"/>
                <a:gd name="connsiteX50" fmla="*/ 1658495 w 2292197"/>
                <a:gd name="connsiteY50" fmla="*/ 316855 h 316856"/>
                <a:gd name="connsiteX51" fmla="*/ 1558977 w 2292197"/>
                <a:gd name="connsiteY51" fmla="*/ 208487 h 316856"/>
                <a:gd name="connsiteX52" fmla="*/ 1663713 w 2292197"/>
                <a:gd name="connsiteY52" fmla="*/ 90402 h 316856"/>
                <a:gd name="connsiteX53" fmla="*/ 1457145 w 2292197"/>
                <a:gd name="connsiteY53" fmla="*/ 90402 h 316856"/>
                <a:gd name="connsiteX54" fmla="*/ 1524180 w 2292197"/>
                <a:gd name="connsiteY54" fmla="*/ 164015 h 316856"/>
                <a:gd name="connsiteX55" fmla="*/ 1524180 w 2292197"/>
                <a:gd name="connsiteY55" fmla="*/ 308638 h 316856"/>
                <a:gd name="connsiteX56" fmla="*/ 1465710 w 2292197"/>
                <a:gd name="connsiteY56" fmla="*/ 308638 h 316856"/>
                <a:gd name="connsiteX57" fmla="*/ 1465710 w 2292197"/>
                <a:gd name="connsiteY57" fmla="*/ 174797 h 316856"/>
                <a:gd name="connsiteX58" fmla="*/ 1439641 w 2292197"/>
                <a:gd name="connsiteY58" fmla="*/ 134644 h 316856"/>
                <a:gd name="connsiteX59" fmla="*/ 1403516 w 2292197"/>
                <a:gd name="connsiteY59" fmla="*/ 172566 h 316856"/>
                <a:gd name="connsiteX60" fmla="*/ 1403516 w 2292197"/>
                <a:gd name="connsiteY60" fmla="*/ 308638 h 316856"/>
                <a:gd name="connsiteX61" fmla="*/ 1345047 w 2292197"/>
                <a:gd name="connsiteY61" fmla="*/ 308638 h 316856"/>
                <a:gd name="connsiteX62" fmla="*/ 1345047 w 2292197"/>
                <a:gd name="connsiteY62" fmla="*/ 135760 h 316856"/>
                <a:gd name="connsiteX63" fmla="*/ 1340950 w 2292197"/>
                <a:gd name="connsiteY63" fmla="*/ 96351 h 316856"/>
                <a:gd name="connsiteX64" fmla="*/ 1389737 w 2292197"/>
                <a:gd name="connsiteY64" fmla="*/ 96351 h 316856"/>
                <a:gd name="connsiteX65" fmla="*/ 1393834 w 2292197"/>
                <a:gd name="connsiteY65" fmla="*/ 121632 h 316856"/>
                <a:gd name="connsiteX66" fmla="*/ 1457145 w 2292197"/>
                <a:gd name="connsiteY66" fmla="*/ 90402 h 316856"/>
                <a:gd name="connsiteX67" fmla="*/ 568075 w 2292197"/>
                <a:gd name="connsiteY67" fmla="*/ 90402 h 316856"/>
                <a:gd name="connsiteX68" fmla="*/ 644721 w 2292197"/>
                <a:gd name="connsiteY68" fmla="*/ 105688 h 316856"/>
                <a:gd name="connsiteX69" fmla="*/ 644721 w 2292197"/>
                <a:gd name="connsiteY69" fmla="*/ 266746 h 316856"/>
                <a:gd name="connsiteX70" fmla="*/ 648794 w 2292197"/>
                <a:gd name="connsiteY70" fmla="*/ 309247 h 316856"/>
                <a:gd name="connsiteX71" fmla="*/ 599178 w 2292197"/>
                <a:gd name="connsiteY71" fmla="*/ 309247 h 316856"/>
                <a:gd name="connsiteX72" fmla="*/ 596215 w 2292197"/>
                <a:gd name="connsiteY72" fmla="*/ 287624 h 316856"/>
                <a:gd name="connsiteX73" fmla="*/ 594364 w 2292197"/>
                <a:gd name="connsiteY73" fmla="*/ 287251 h 316856"/>
                <a:gd name="connsiteX74" fmla="*/ 538083 w 2292197"/>
                <a:gd name="connsiteY74" fmla="*/ 315212 h 316856"/>
                <a:gd name="connsiteX75" fmla="*/ 457365 w 2292197"/>
                <a:gd name="connsiteY75" fmla="*/ 212314 h 316856"/>
                <a:gd name="connsiteX76" fmla="*/ 568075 w 2292197"/>
                <a:gd name="connsiteY76" fmla="*/ 90402 h 316856"/>
                <a:gd name="connsiteX77" fmla="*/ 353910 w 2292197"/>
                <a:gd name="connsiteY77" fmla="*/ 90402 h 316856"/>
                <a:gd name="connsiteX78" fmla="*/ 423983 w 2292197"/>
                <a:gd name="connsiteY78" fmla="*/ 152060 h 316856"/>
                <a:gd name="connsiteX79" fmla="*/ 308065 w 2292197"/>
                <a:gd name="connsiteY79" fmla="*/ 230534 h 316856"/>
                <a:gd name="connsiteX80" fmla="*/ 356519 w 2292197"/>
                <a:gd name="connsiteY80" fmla="*/ 272013 h 316856"/>
                <a:gd name="connsiteX81" fmla="*/ 409073 w 2292197"/>
                <a:gd name="connsiteY81" fmla="*/ 254076 h 316856"/>
                <a:gd name="connsiteX82" fmla="*/ 425846 w 2292197"/>
                <a:gd name="connsiteY82" fmla="*/ 293313 h 316856"/>
                <a:gd name="connsiteX83" fmla="*/ 349065 w 2292197"/>
                <a:gd name="connsiteY83" fmla="*/ 316855 h 316856"/>
                <a:gd name="connsiteX84" fmla="*/ 249174 w 2292197"/>
                <a:gd name="connsiteY84" fmla="*/ 208487 h 316856"/>
                <a:gd name="connsiteX85" fmla="*/ 353910 w 2292197"/>
                <a:gd name="connsiteY85" fmla="*/ 90402 h 316856"/>
                <a:gd name="connsiteX86" fmla="*/ 2208041 w 2292197"/>
                <a:gd name="connsiteY86" fmla="*/ 90249 h 316856"/>
                <a:gd name="connsiteX87" fmla="*/ 2277182 w 2292197"/>
                <a:gd name="connsiteY87" fmla="*/ 108139 h 316856"/>
                <a:gd name="connsiteX88" fmla="*/ 2277182 w 2292197"/>
                <a:gd name="connsiteY88" fmla="*/ 108512 h 316856"/>
                <a:gd name="connsiteX89" fmla="*/ 2259711 w 2292197"/>
                <a:gd name="connsiteY89" fmla="*/ 148764 h 316856"/>
                <a:gd name="connsiteX90" fmla="*/ 2213245 w 2292197"/>
                <a:gd name="connsiteY90" fmla="*/ 131620 h 316856"/>
                <a:gd name="connsiteX91" fmla="*/ 2189455 w 2292197"/>
                <a:gd name="connsiteY91" fmla="*/ 152119 h 316856"/>
                <a:gd name="connsiteX92" fmla="*/ 2224025 w 2292197"/>
                <a:gd name="connsiteY92" fmla="*/ 177836 h 316856"/>
                <a:gd name="connsiteX93" fmla="*/ 2292050 w 2292197"/>
                <a:gd name="connsiteY93" fmla="*/ 238960 h 316856"/>
                <a:gd name="connsiteX94" fmla="*/ 2214360 w 2292197"/>
                <a:gd name="connsiteY94" fmla="*/ 314993 h 316856"/>
                <a:gd name="connsiteX95" fmla="*/ 2133325 w 2292197"/>
                <a:gd name="connsiteY95" fmla="*/ 297103 h 316856"/>
                <a:gd name="connsiteX96" fmla="*/ 2150796 w 2292197"/>
                <a:gd name="connsiteY96" fmla="*/ 257223 h 316856"/>
                <a:gd name="connsiteX97" fmla="*/ 2208784 w 2292197"/>
                <a:gd name="connsiteY97" fmla="*/ 272504 h 316856"/>
                <a:gd name="connsiteX98" fmla="*/ 2234433 w 2292197"/>
                <a:gd name="connsiteY98" fmla="*/ 249023 h 316856"/>
                <a:gd name="connsiteX99" fmla="*/ 2199863 w 2292197"/>
                <a:gd name="connsiteY99" fmla="*/ 224424 h 316856"/>
                <a:gd name="connsiteX100" fmla="*/ 2133325 w 2292197"/>
                <a:gd name="connsiteY100" fmla="*/ 162555 h 316856"/>
                <a:gd name="connsiteX101" fmla="*/ 2208041 w 2292197"/>
                <a:gd name="connsiteY101" fmla="*/ 90249 h 316856"/>
                <a:gd name="connsiteX102" fmla="*/ 1004892 w 2292197"/>
                <a:gd name="connsiteY102" fmla="*/ 31230 h 316856"/>
                <a:gd name="connsiteX103" fmla="*/ 1063095 w 2292197"/>
                <a:gd name="connsiteY103" fmla="*/ 31230 h 316856"/>
                <a:gd name="connsiteX104" fmla="*/ 1063095 w 2292197"/>
                <a:gd name="connsiteY104" fmla="*/ 112822 h 316856"/>
                <a:gd name="connsiteX105" fmla="*/ 1115736 w 2292197"/>
                <a:gd name="connsiteY105" fmla="*/ 90841 h 316856"/>
                <a:gd name="connsiteX106" fmla="*/ 1183207 w 2292197"/>
                <a:gd name="connsiteY106" fmla="*/ 165727 h 316856"/>
                <a:gd name="connsiteX107" fmla="*/ 1183207 w 2292197"/>
                <a:gd name="connsiteY107" fmla="*/ 310283 h 316856"/>
                <a:gd name="connsiteX108" fmla="*/ 1125004 w 2292197"/>
                <a:gd name="connsiteY108" fmla="*/ 310283 h 316856"/>
                <a:gd name="connsiteX109" fmla="*/ 1125004 w 2292197"/>
                <a:gd name="connsiteY109" fmla="*/ 174668 h 316856"/>
                <a:gd name="connsiteX110" fmla="*/ 1098313 w 2292197"/>
                <a:gd name="connsiteY110" fmla="*/ 136294 h 316856"/>
                <a:gd name="connsiteX111" fmla="*/ 1062353 w 2292197"/>
                <a:gd name="connsiteY111" fmla="*/ 173178 h 316856"/>
                <a:gd name="connsiteX112" fmla="*/ 1062353 w 2292197"/>
                <a:gd name="connsiteY112" fmla="*/ 310283 h 316856"/>
                <a:gd name="connsiteX113" fmla="*/ 1004892 w 2292197"/>
                <a:gd name="connsiteY113" fmla="*/ 310283 h 316856"/>
                <a:gd name="connsiteX114" fmla="*/ 842391 w 2292197"/>
                <a:gd name="connsiteY114" fmla="*/ 31230 h 316856"/>
                <a:gd name="connsiteX115" fmla="*/ 900136 w 2292197"/>
                <a:gd name="connsiteY115" fmla="*/ 31230 h 316856"/>
                <a:gd name="connsiteX116" fmla="*/ 900136 w 2292197"/>
                <a:gd name="connsiteY116" fmla="*/ 97603 h 316856"/>
                <a:gd name="connsiteX117" fmla="*/ 954920 w 2292197"/>
                <a:gd name="connsiteY117" fmla="*/ 97603 h 316856"/>
                <a:gd name="connsiteX118" fmla="*/ 954920 w 2292197"/>
                <a:gd name="connsiteY118" fmla="*/ 143467 h 316856"/>
                <a:gd name="connsiteX119" fmla="*/ 900877 w 2292197"/>
                <a:gd name="connsiteY119" fmla="*/ 143467 h 316856"/>
                <a:gd name="connsiteX120" fmla="*/ 900877 w 2292197"/>
                <a:gd name="connsiteY120" fmla="*/ 238551 h 316856"/>
                <a:gd name="connsiteX121" fmla="*/ 921236 w 2292197"/>
                <a:gd name="connsiteY121" fmla="*/ 270992 h 316856"/>
                <a:gd name="connsiteX122" fmla="*/ 946407 w 2292197"/>
                <a:gd name="connsiteY122" fmla="*/ 264653 h 316856"/>
                <a:gd name="connsiteX123" fmla="*/ 958622 w 2292197"/>
                <a:gd name="connsiteY123" fmla="*/ 303433 h 316856"/>
                <a:gd name="connsiteX124" fmla="*/ 905689 w 2292197"/>
                <a:gd name="connsiteY124" fmla="*/ 316856 h 316856"/>
                <a:gd name="connsiteX125" fmla="*/ 842391 w 2292197"/>
                <a:gd name="connsiteY125" fmla="*/ 247128 h 316856"/>
                <a:gd name="connsiteX126" fmla="*/ 842391 w 2292197"/>
                <a:gd name="connsiteY126" fmla="*/ 143467 h 316856"/>
                <a:gd name="connsiteX127" fmla="*/ 809816 w 2292197"/>
                <a:gd name="connsiteY127" fmla="*/ 143467 h 316856"/>
                <a:gd name="connsiteX128" fmla="*/ 809816 w 2292197"/>
                <a:gd name="connsiteY128" fmla="*/ 97603 h 316856"/>
                <a:gd name="connsiteX129" fmla="*/ 842391 w 2292197"/>
                <a:gd name="connsiteY129" fmla="*/ 97603 h 316856"/>
                <a:gd name="connsiteX130" fmla="*/ 698343 w 2292197"/>
                <a:gd name="connsiteY130" fmla="*/ 31230 h 316856"/>
                <a:gd name="connsiteX131" fmla="*/ 756722 w 2292197"/>
                <a:gd name="connsiteY131" fmla="*/ 31230 h 316856"/>
                <a:gd name="connsiteX132" fmla="*/ 756722 w 2292197"/>
                <a:gd name="connsiteY132" fmla="*/ 238449 h 316856"/>
                <a:gd name="connsiteX133" fmla="*/ 777045 w 2292197"/>
                <a:gd name="connsiteY133" fmla="*/ 270932 h 316856"/>
                <a:gd name="connsiteX134" fmla="*/ 802170 w 2292197"/>
                <a:gd name="connsiteY134" fmla="*/ 264584 h 316856"/>
                <a:gd name="connsiteX135" fmla="*/ 814364 w 2292197"/>
                <a:gd name="connsiteY135" fmla="*/ 303415 h 316856"/>
                <a:gd name="connsiteX136" fmla="*/ 761895 w 2292197"/>
                <a:gd name="connsiteY136" fmla="*/ 316856 h 316856"/>
                <a:gd name="connsiteX137" fmla="*/ 698343 w 2292197"/>
                <a:gd name="connsiteY137" fmla="*/ 247036 h 316856"/>
                <a:gd name="connsiteX138" fmla="*/ 0 w 2292197"/>
                <a:gd name="connsiteY138" fmla="*/ 31230 h 316856"/>
                <a:gd name="connsiteX139" fmla="*/ 59654 w 2292197"/>
                <a:gd name="connsiteY139" fmla="*/ 31230 h 316856"/>
                <a:gd name="connsiteX140" fmla="*/ 59654 w 2292197"/>
                <a:gd name="connsiteY140" fmla="*/ 142255 h 316856"/>
                <a:gd name="connsiteX141" fmla="*/ 145779 w 2292197"/>
                <a:gd name="connsiteY141" fmla="*/ 142255 h 316856"/>
                <a:gd name="connsiteX142" fmla="*/ 145779 w 2292197"/>
                <a:gd name="connsiteY142" fmla="*/ 31230 h 316856"/>
                <a:gd name="connsiteX143" fmla="*/ 206179 w 2292197"/>
                <a:gd name="connsiteY143" fmla="*/ 31230 h 316856"/>
                <a:gd name="connsiteX144" fmla="*/ 206179 w 2292197"/>
                <a:gd name="connsiteY144" fmla="*/ 310283 h 316856"/>
                <a:gd name="connsiteX145" fmla="*/ 145779 w 2292197"/>
                <a:gd name="connsiteY145" fmla="*/ 310283 h 316856"/>
                <a:gd name="connsiteX146" fmla="*/ 145779 w 2292197"/>
                <a:gd name="connsiteY146" fmla="*/ 194787 h 316856"/>
                <a:gd name="connsiteX147" fmla="*/ 59654 w 2292197"/>
                <a:gd name="connsiteY147" fmla="*/ 194787 h 316856"/>
                <a:gd name="connsiteX148" fmla="*/ 59654 w 2292197"/>
                <a:gd name="connsiteY148" fmla="*/ 310283 h 316856"/>
                <a:gd name="connsiteX149" fmla="*/ 0 w 2292197"/>
                <a:gd name="connsiteY149" fmla="*/ 310283 h 316856"/>
                <a:gd name="connsiteX150" fmla="*/ 1262898 w 2292197"/>
                <a:gd name="connsiteY150" fmla="*/ 0 h 316856"/>
                <a:gd name="connsiteX151" fmla="*/ 1294680 w 2292197"/>
                <a:gd name="connsiteY151" fmla="*/ 30408 h 316856"/>
                <a:gd name="connsiteX152" fmla="*/ 1262898 w 2292197"/>
                <a:gd name="connsiteY152" fmla="*/ 60442 h 316856"/>
                <a:gd name="connsiteX153" fmla="*/ 1231116 w 2292197"/>
                <a:gd name="connsiteY153" fmla="*/ 30408 h 316856"/>
                <a:gd name="connsiteX154" fmla="*/ 1262898 w 2292197"/>
                <a:gd name="connsiteY154" fmla="*/ 0 h 316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2292197" h="316856">
                  <a:moveTo>
                    <a:pt x="561040" y="133276"/>
                  </a:moveTo>
                  <a:cubicBezTo>
                    <a:pt x="526975" y="133276"/>
                    <a:pt x="514756" y="167576"/>
                    <a:pt x="514756" y="208959"/>
                  </a:cubicBezTo>
                  <a:cubicBezTo>
                    <a:pt x="514756" y="242885"/>
                    <a:pt x="522532" y="272711"/>
                    <a:pt x="553264" y="272711"/>
                  </a:cubicBezTo>
                  <a:cubicBezTo>
                    <a:pt x="575110" y="272711"/>
                    <a:pt x="587329" y="256680"/>
                    <a:pt x="587329" y="241394"/>
                  </a:cubicBezTo>
                  <a:lnTo>
                    <a:pt x="587329" y="137750"/>
                  </a:lnTo>
                  <a:cubicBezTo>
                    <a:pt x="581775" y="135140"/>
                    <a:pt x="572148" y="133276"/>
                    <a:pt x="561040" y="133276"/>
                  </a:cubicBezTo>
                  <a:close/>
                  <a:moveTo>
                    <a:pt x="1864005" y="131508"/>
                  </a:moveTo>
                  <a:cubicBezTo>
                    <a:pt x="1835677" y="131508"/>
                    <a:pt x="1820768" y="159908"/>
                    <a:pt x="1819277" y="188681"/>
                  </a:cubicBezTo>
                  <a:cubicBezTo>
                    <a:pt x="1846486" y="187934"/>
                    <a:pt x="1885623" y="181208"/>
                    <a:pt x="1885623" y="152434"/>
                  </a:cubicBezTo>
                  <a:cubicBezTo>
                    <a:pt x="1885623" y="139355"/>
                    <a:pt x="1877795" y="131508"/>
                    <a:pt x="1864005" y="131508"/>
                  </a:cubicBezTo>
                  <a:close/>
                  <a:moveTo>
                    <a:pt x="1660732" y="131508"/>
                  </a:moveTo>
                  <a:cubicBezTo>
                    <a:pt x="1632032" y="131508"/>
                    <a:pt x="1617123" y="159908"/>
                    <a:pt x="1615632" y="188681"/>
                  </a:cubicBezTo>
                  <a:cubicBezTo>
                    <a:pt x="1643213" y="187934"/>
                    <a:pt x="1681977" y="181208"/>
                    <a:pt x="1681977" y="152434"/>
                  </a:cubicBezTo>
                  <a:cubicBezTo>
                    <a:pt x="1681977" y="139355"/>
                    <a:pt x="1673777" y="131508"/>
                    <a:pt x="1660732" y="131508"/>
                  </a:cubicBezTo>
                  <a:close/>
                  <a:moveTo>
                    <a:pt x="351674" y="131508"/>
                  </a:moveTo>
                  <a:cubicBezTo>
                    <a:pt x="322974" y="131508"/>
                    <a:pt x="308065" y="159908"/>
                    <a:pt x="306574" y="188681"/>
                  </a:cubicBezTo>
                  <a:cubicBezTo>
                    <a:pt x="334155" y="187934"/>
                    <a:pt x="372919" y="181208"/>
                    <a:pt x="372919" y="152434"/>
                  </a:cubicBezTo>
                  <a:cubicBezTo>
                    <a:pt x="372919" y="139355"/>
                    <a:pt x="364719" y="131508"/>
                    <a:pt x="351674" y="131508"/>
                  </a:cubicBezTo>
                  <a:close/>
                  <a:moveTo>
                    <a:pt x="1234395" y="96976"/>
                  </a:moveTo>
                  <a:lnTo>
                    <a:pt x="1293037" y="96976"/>
                  </a:lnTo>
                  <a:lnTo>
                    <a:pt x="1293037" y="310280"/>
                  </a:lnTo>
                  <a:lnTo>
                    <a:pt x="1263529" y="310280"/>
                  </a:lnTo>
                  <a:lnTo>
                    <a:pt x="1234395" y="310280"/>
                  </a:lnTo>
                  <a:close/>
                  <a:moveTo>
                    <a:pt x="2081174" y="90402"/>
                  </a:moveTo>
                  <a:cubicBezTo>
                    <a:pt x="2093389" y="90402"/>
                    <a:pt x="2105975" y="92261"/>
                    <a:pt x="2115969" y="97838"/>
                  </a:cubicBezTo>
                  <a:lnTo>
                    <a:pt x="2105604" y="148028"/>
                  </a:lnTo>
                  <a:cubicBezTo>
                    <a:pt x="2096721" y="143567"/>
                    <a:pt x="2086726" y="140593"/>
                    <a:pt x="2075991" y="140593"/>
                  </a:cubicBezTo>
                  <a:cubicBezTo>
                    <a:pt x="2054892" y="140593"/>
                    <a:pt x="2041566" y="154720"/>
                    <a:pt x="2040826" y="176656"/>
                  </a:cubicBezTo>
                  <a:lnTo>
                    <a:pt x="2040826" y="308638"/>
                  </a:lnTo>
                  <a:lnTo>
                    <a:pt x="1982710" y="308638"/>
                  </a:lnTo>
                  <a:lnTo>
                    <a:pt x="1982710" y="133157"/>
                  </a:lnTo>
                  <a:lnTo>
                    <a:pt x="1978638" y="96351"/>
                  </a:lnTo>
                  <a:lnTo>
                    <a:pt x="2025649" y="96351"/>
                  </a:lnTo>
                  <a:lnTo>
                    <a:pt x="2031202" y="126837"/>
                  </a:lnTo>
                  <a:cubicBezTo>
                    <a:pt x="2041196" y="102299"/>
                    <a:pt x="2061555" y="90402"/>
                    <a:pt x="2081174" y="90402"/>
                  </a:cubicBezTo>
                  <a:close/>
                  <a:moveTo>
                    <a:pt x="1866986" y="90402"/>
                  </a:moveTo>
                  <a:cubicBezTo>
                    <a:pt x="1909477" y="90402"/>
                    <a:pt x="1937059" y="111702"/>
                    <a:pt x="1937059" y="152060"/>
                  </a:cubicBezTo>
                  <a:cubicBezTo>
                    <a:pt x="1937059" y="215213"/>
                    <a:pt x="1872577" y="227545"/>
                    <a:pt x="1821141" y="230534"/>
                  </a:cubicBezTo>
                  <a:cubicBezTo>
                    <a:pt x="1824123" y="250713"/>
                    <a:pt x="1837541" y="272013"/>
                    <a:pt x="1869595" y="272013"/>
                  </a:cubicBezTo>
                  <a:cubicBezTo>
                    <a:pt x="1891959" y="272013"/>
                    <a:pt x="1910223" y="262297"/>
                    <a:pt x="1922150" y="254076"/>
                  </a:cubicBezTo>
                  <a:lnTo>
                    <a:pt x="1938923" y="293313"/>
                  </a:lnTo>
                  <a:cubicBezTo>
                    <a:pt x="1934077" y="297050"/>
                    <a:pt x="1904632" y="316855"/>
                    <a:pt x="1862141" y="316855"/>
                  </a:cubicBezTo>
                  <a:cubicBezTo>
                    <a:pt x="1790577" y="316855"/>
                    <a:pt x="1762250" y="271640"/>
                    <a:pt x="1762250" y="208487"/>
                  </a:cubicBezTo>
                  <a:cubicBezTo>
                    <a:pt x="1762250" y="146829"/>
                    <a:pt x="1798405" y="90402"/>
                    <a:pt x="1866986" y="90402"/>
                  </a:cubicBezTo>
                  <a:close/>
                  <a:moveTo>
                    <a:pt x="1663713" y="90402"/>
                  </a:moveTo>
                  <a:cubicBezTo>
                    <a:pt x="1706204" y="90402"/>
                    <a:pt x="1733413" y="111702"/>
                    <a:pt x="1733413" y="152060"/>
                  </a:cubicBezTo>
                  <a:cubicBezTo>
                    <a:pt x="1733413" y="215213"/>
                    <a:pt x="1669304" y="227545"/>
                    <a:pt x="1617868" y="230534"/>
                  </a:cubicBezTo>
                  <a:cubicBezTo>
                    <a:pt x="1620850" y="250713"/>
                    <a:pt x="1634268" y="272013"/>
                    <a:pt x="1666322" y="272013"/>
                  </a:cubicBezTo>
                  <a:cubicBezTo>
                    <a:pt x="1688686" y="272013"/>
                    <a:pt x="1706577" y="262297"/>
                    <a:pt x="1718504" y="254076"/>
                  </a:cubicBezTo>
                  <a:lnTo>
                    <a:pt x="1735650" y="293313"/>
                  </a:lnTo>
                  <a:cubicBezTo>
                    <a:pt x="1730431" y="297050"/>
                    <a:pt x="1700986" y="316855"/>
                    <a:pt x="1658495" y="316855"/>
                  </a:cubicBezTo>
                  <a:cubicBezTo>
                    <a:pt x="1587304" y="316855"/>
                    <a:pt x="1558977" y="271640"/>
                    <a:pt x="1558977" y="208487"/>
                  </a:cubicBezTo>
                  <a:cubicBezTo>
                    <a:pt x="1558977" y="146829"/>
                    <a:pt x="1594759" y="90402"/>
                    <a:pt x="1663713" y="90402"/>
                  </a:cubicBezTo>
                  <a:close/>
                  <a:moveTo>
                    <a:pt x="1457145" y="90402"/>
                  </a:moveTo>
                  <a:cubicBezTo>
                    <a:pt x="1498483" y="90402"/>
                    <a:pt x="1524180" y="113824"/>
                    <a:pt x="1524180" y="164015"/>
                  </a:cubicBezTo>
                  <a:lnTo>
                    <a:pt x="1524180" y="308638"/>
                  </a:lnTo>
                  <a:lnTo>
                    <a:pt x="1465710" y="308638"/>
                  </a:lnTo>
                  <a:lnTo>
                    <a:pt x="1465710" y="174797"/>
                  </a:lnTo>
                  <a:cubicBezTo>
                    <a:pt x="1465710" y="152118"/>
                    <a:pt x="1462358" y="134644"/>
                    <a:pt x="1439641" y="134644"/>
                  </a:cubicBezTo>
                  <a:cubicBezTo>
                    <a:pt x="1417668" y="134644"/>
                    <a:pt x="1403516" y="152490"/>
                    <a:pt x="1403516" y="172566"/>
                  </a:cubicBezTo>
                  <a:lnTo>
                    <a:pt x="1403516" y="308638"/>
                  </a:lnTo>
                  <a:lnTo>
                    <a:pt x="1345047" y="308638"/>
                  </a:lnTo>
                  <a:lnTo>
                    <a:pt x="1345047" y="135760"/>
                  </a:lnTo>
                  <a:lnTo>
                    <a:pt x="1340950" y="96351"/>
                  </a:lnTo>
                  <a:lnTo>
                    <a:pt x="1389737" y="96351"/>
                  </a:lnTo>
                  <a:lnTo>
                    <a:pt x="1393834" y="121632"/>
                  </a:lnTo>
                  <a:cubicBezTo>
                    <a:pt x="1407985" y="102299"/>
                    <a:pt x="1429213" y="90402"/>
                    <a:pt x="1457145" y="90402"/>
                  </a:cubicBezTo>
                  <a:close/>
                  <a:moveTo>
                    <a:pt x="568075" y="90402"/>
                  </a:moveTo>
                  <a:cubicBezTo>
                    <a:pt x="582516" y="90402"/>
                    <a:pt x="613248" y="93758"/>
                    <a:pt x="644721" y="105688"/>
                  </a:cubicBezTo>
                  <a:lnTo>
                    <a:pt x="644721" y="266746"/>
                  </a:lnTo>
                  <a:lnTo>
                    <a:pt x="648794" y="309247"/>
                  </a:lnTo>
                  <a:lnTo>
                    <a:pt x="599178" y="309247"/>
                  </a:lnTo>
                  <a:lnTo>
                    <a:pt x="596215" y="287624"/>
                  </a:lnTo>
                  <a:lnTo>
                    <a:pt x="594364" y="287251"/>
                  </a:lnTo>
                  <a:cubicBezTo>
                    <a:pt x="581775" y="306637"/>
                    <a:pt x="560670" y="315212"/>
                    <a:pt x="538083" y="315212"/>
                  </a:cubicBezTo>
                  <a:cubicBezTo>
                    <a:pt x="477730" y="315212"/>
                    <a:pt x="457365" y="269356"/>
                    <a:pt x="457365" y="212314"/>
                  </a:cubicBezTo>
                  <a:cubicBezTo>
                    <a:pt x="457365" y="138869"/>
                    <a:pt x="494021" y="90402"/>
                    <a:pt x="568075" y="90402"/>
                  </a:cubicBezTo>
                  <a:close/>
                  <a:moveTo>
                    <a:pt x="353910" y="90402"/>
                  </a:moveTo>
                  <a:cubicBezTo>
                    <a:pt x="396401" y="90402"/>
                    <a:pt x="423983" y="111702"/>
                    <a:pt x="423983" y="152060"/>
                  </a:cubicBezTo>
                  <a:cubicBezTo>
                    <a:pt x="423983" y="215213"/>
                    <a:pt x="360246" y="227545"/>
                    <a:pt x="308065" y="230534"/>
                  </a:cubicBezTo>
                  <a:cubicBezTo>
                    <a:pt x="311046" y="250713"/>
                    <a:pt x="324465" y="272013"/>
                    <a:pt x="356519" y="272013"/>
                  </a:cubicBezTo>
                  <a:cubicBezTo>
                    <a:pt x="378883" y="272013"/>
                    <a:pt x="397146" y="262297"/>
                    <a:pt x="409073" y="254076"/>
                  </a:cubicBezTo>
                  <a:lnTo>
                    <a:pt x="425846" y="293313"/>
                  </a:lnTo>
                  <a:cubicBezTo>
                    <a:pt x="421001" y="297050"/>
                    <a:pt x="391555" y="316855"/>
                    <a:pt x="349065" y="316855"/>
                  </a:cubicBezTo>
                  <a:cubicBezTo>
                    <a:pt x="277501" y="316855"/>
                    <a:pt x="249174" y="271640"/>
                    <a:pt x="249174" y="208487"/>
                  </a:cubicBezTo>
                  <a:cubicBezTo>
                    <a:pt x="249174" y="146829"/>
                    <a:pt x="285328" y="90402"/>
                    <a:pt x="353910" y="90402"/>
                  </a:cubicBezTo>
                  <a:close/>
                  <a:moveTo>
                    <a:pt x="2208041" y="90249"/>
                  </a:moveTo>
                  <a:cubicBezTo>
                    <a:pt x="2234433" y="88758"/>
                    <a:pt x="2258595" y="96212"/>
                    <a:pt x="2277182" y="108139"/>
                  </a:cubicBezTo>
                  <a:lnTo>
                    <a:pt x="2277182" y="108512"/>
                  </a:lnTo>
                  <a:lnTo>
                    <a:pt x="2259711" y="148764"/>
                  </a:lnTo>
                  <a:cubicBezTo>
                    <a:pt x="2243355" y="137210"/>
                    <a:pt x="2227742" y="131247"/>
                    <a:pt x="2213245" y="131620"/>
                  </a:cubicBezTo>
                  <a:cubicBezTo>
                    <a:pt x="2199863" y="131992"/>
                    <a:pt x="2189083" y="137956"/>
                    <a:pt x="2189455" y="152119"/>
                  </a:cubicBezTo>
                  <a:cubicBezTo>
                    <a:pt x="2190570" y="168518"/>
                    <a:pt x="2205067" y="172618"/>
                    <a:pt x="2224025" y="177836"/>
                  </a:cubicBezTo>
                  <a:cubicBezTo>
                    <a:pt x="2254878" y="185663"/>
                    <a:pt x="2289448" y="194980"/>
                    <a:pt x="2292050" y="238960"/>
                  </a:cubicBezTo>
                  <a:cubicBezTo>
                    <a:pt x="2294653" y="287040"/>
                    <a:pt x="2262684" y="312384"/>
                    <a:pt x="2214360" y="314993"/>
                  </a:cubicBezTo>
                  <a:cubicBezTo>
                    <a:pt x="2177188" y="316856"/>
                    <a:pt x="2145591" y="304930"/>
                    <a:pt x="2133325" y="297103"/>
                  </a:cubicBezTo>
                  <a:lnTo>
                    <a:pt x="2150796" y="257223"/>
                  </a:lnTo>
                  <a:cubicBezTo>
                    <a:pt x="2166036" y="265050"/>
                    <a:pt x="2189827" y="273622"/>
                    <a:pt x="2208784" y="272504"/>
                  </a:cubicBezTo>
                  <a:cubicBezTo>
                    <a:pt x="2224397" y="272131"/>
                    <a:pt x="2235177" y="265050"/>
                    <a:pt x="2234433" y="249023"/>
                  </a:cubicBezTo>
                  <a:cubicBezTo>
                    <a:pt x="2233318" y="232624"/>
                    <a:pt x="2218449" y="229270"/>
                    <a:pt x="2199863" y="224424"/>
                  </a:cubicBezTo>
                  <a:cubicBezTo>
                    <a:pt x="2167895" y="216970"/>
                    <a:pt x="2135927" y="206534"/>
                    <a:pt x="2133325" y="162555"/>
                  </a:cubicBezTo>
                  <a:cubicBezTo>
                    <a:pt x="2131094" y="118202"/>
                    <a:pt x="2164549" y="92858"/>
                    <a:pt x="2208041" y="90249"/>
                  </a:cubicBezTo>
                  <a:close/>
                  <a:moveTo>
                    <a:pt x="1004892" y="31230"/>
                  </a:moveTo>
                  <a:lnTo>
                    <a:pt x="1063095" y="31230"/>
                  </a:lnTo>
                  <a:lnTo>
                    <a:pt x="1063095" y="112822"/>
                  </a:lnTo>
                  <a:cubicBezTo>
                    <a:pt x="1076440" y="98665"/>
                    <a:pt x="1095347" y="90841"/>
                    <a:pt x="1115736" y="90841"/>
                  </a:cubicBezTo>
                  <a:cubicBezTo>
                    <a:pt x="1159481" y="90841"/>
                    <a:pt x="1183207" y="115803"/>
                    <a:pt x="1183207" y="165727"/>
                  </a:cubicBezTo>
                  <a:lnTo>
                    <a:pt x="1183207" y="310283"/>
                  </a:lnTo>
                  <a:lnTo>
                    <a:pt x="1125004" y="310283"/>
                  </a:lnTo>
                  <a:lnTo>
                    <a:pt x="1125004" y="174668"/>
                  </a:lnTo>
                  <a:cubicBezTo>
                    <a:pt x="1125004" y="153432"/>
                    <a:pt x="1120556" y="136294"/>
                    <a:pt x="1098313" y="136294"/>
                  </a:cubicBezTo>
                  <a:cubicBezTo>
                    <a:pt x="1076811" y="136294"/>
                    <a:pt x="1062353" y="153432"/>
                    <a:pt x="1062353" y="173178"/>
                  </a:cubicBezTo>
                  <a:lnTo>
                    <a:pt x="1062353" y="310283"/>
                  </a:lnTo>
                  <a:lnTo>
                    <a:pt x="1004892" y="310283"/>
                  </a:lnTo>
                  <a:close/>
                  <a:moveTo>
                    <a:pt x="842391" y="31230"/>
                  </a:moveTo>
                  <a:lnTo>
                    <a:pt x="900136" y="31230"/>
                  </a:lnTo>
                  <a:lnTo>
                    <a:pt x="900136" y="97603"/>
                  </a:lnTo>
                  <a:lnTo>
                    <a:pt x="954920" y="97603"/>
                  </a:lnTo>
                  <a:lnTo>
                    <a:pt x="954920" y="143467"/>
                  </a:lnTo>
                  <a:lnTo>
                    <a:pt x="900877" y="143467"/>
                  </a:lnTo>
                  <a:lnTo>
                    <a:pt x="900877" y="238551"/>
                  </a:lnTo>
                  <a:cubicBezTo>
                    <a:pt x="900877" y="261670"/>
                    <a:pt x="905689" y="270992"/>
                    <a:pt x="921236" y="270992"/>
                  </a:cubicBezTo>
                  <a:cubicBezTo>
                    <a:pt x="928639" y="270992"/>
                    <a:pt x="936782" y="268382"/>
                    <a:pt x="946407" y="264653"/>
                  </a:cubicBezTo>
                  <a:lnTo>
                    <a:pt x="958622" y="303433"/>
                  </a:lnTo>
                  <a:cubicBezTo>
                    <a:pt x="946407" y="311636"/>
                    <a:pt x="924197" y="316856"/>
                    <a:pt x="905689" y="316856"/>
                  </a:cubicBezTo>
                  <a:cubicBezTo>
                    <a:pt x="845722" y="316856"/>
                    <a:pt x="842391" y="282551"/>
                    <a:pt x="842391" y="247128"/>
                  </a:cubicBezTo>
                  <a:lnTo>
                    <a:pt x="842391" y="143467"/>
                  </a:lnTo>
                  <a:lnTo>
                    <a:pt x="809816" y="143467"/>
                  </a:lnTo>
                  <a:lnTo>
                    <a:pt x="809816" y="97603"/>
                  </a:lnTo>
                  <a:lnTo>
                    <a:pt x="842391" y="97603"/>
                  </a:lnTo>
                  <a:close/>
                  <a:moveTo>
                    <a:pt x="698343" y="31230"/>
                  </a:moveTo>
                  <a:lnTo>
                    <a:pt x="756722" y="31230"/>
                  </a:lnTo>
                  <a:lnTo>
                    <a:pt x="756722" y="238449"/>
                  </a:lnTo>
                  <a:cubicBezTo>
                    <a:pt x="756722" y="261597"/>
                    <a:pt x="761895" y="270932"/>
                    <a:pt x="777045" y="270932"/>
                  </a:cubicBezTo>
                  <a:cubicBezTo>
                    <a:pt x="784434" y="270932"/>
                    <a:pt x="792563" y="268318"/>
                    <a:pt x="802170" y="264584"/>
                  </a:cubicBezTo>
                  <a:lnTo>
                    <a:pt x="814364" y="303415"/>
                  </a:lnTo>
                  <a:cubicBezTo>
                    <a:pt x="802170" y="311629"/>
                    <a:pt x="780000" y="316856"/>
                    <a:pt x="761895" y="316856"/>
                  </a:cubicBezTo>
                  <a:cubicBezTo>
                    <a:pt x="702038" y="316856"/>
                    <a:pt x="698343" y="282506"/>
                    <a:pt x="698343" y="247036"/>
                  </a:cubicBezTo>
                  <a:close/>
                  <a:moveTo>
                    <a:pt x="0" y="31230"/>
                  </a:moveTo>
                  <a:lnTo>
                    <a:pt x="59654" y="31230"/>
                  </a:lnTo>
                  <a:lnTo>
                    <a:pt x="59654" y="142255"/>
                  </a:lnTo>
                  <a:lnTo>
                    <a:pt x="145779" y="142255"/>
                  </a:lnTo>
                  <a:lnTo>
                    <a:pt x="145779" y="31230"/>
                  </a:lnTo>
                  <a:lnTo>
                    <a:pt x="206179" y="31230"/>
                  </a:lnTo>
                  <a:lnTo>
                    <a:pt x="206179" y="310283"/>
                  </a:lnTo>
                  <a:lnTo>
                    <a:pt x="145779" y="310283"/>
                  </a:lnTo>
                  <a:lnTo>
                    <a:pt x="145779" y="194787"/>
                  </a:lnTo>
                  <a:lnTo>
                    <a:pt x="59654" y="194787"/>
                  </a:lnTo>
                  <a:lnTo>
                    <a:pt x="59654" y="310283"/>
                  </a:lnTo>
                  <a:lnTo>
                    <a:pt x="0" y="310283"/>
                  </a:lnTo>
                  <a:close/>
                  <a:moveTo>
                    <a:pt x="1262898" y="0"/>
                  </a:moveTo>
                  <a:cubicBezTo>
                    <a:pt x="1281745" y="0"/>
                    <a:pt x="1294680" y="13890"/>
                    <a:pt x="1294680" y="30408"/>
                  </a:cubicBezTo>
                  <a:cubicBezTo>
                    <a:pt x="1294680" y="48053"/>
                    <a:pt x="1281745" y="60442"/>
                    <a:pt x="1262898" y="60442"/>
                  </a:cubicBezTo>
                  <a:cubicBezTo>
                    <a:pt x="1243681" y="60442"/>
                    <a:pt x="1231116" y="48053"/>
                    <a:pt x="1231116" y="30408"/>
                  </a:cubicBezTo>
                  <a:cubicBezTo>
                    <a:pt x="1231116" y="13890"/>
                    <a:pt x="1244051" y="0"/>
                    <a:pt x="1262898" y="0"/>
                  </a:cubicBezTo>
                  <a:close/>
                </a:path>
              </a:pathLst>
            </a:custGeom>
            <a:solidFill>
              <a:srgbClr val="EC6602"/>
            </a:solidFill>
            <a:ln w="9525" cap="flat">
              <a:noFill/>
              <a:bevel/>
              <a:headEnd/>
              <a:tailEnd/>
            </a:ln>
            <a:effectLst/>
          </p:spPr>
          <p:txBody>
            <a:bodyPr wrap="square" anchor="ctr">
              <a:prstTxWarp prst="textNoShape">
                <a:avLst/>
              </a:prstTxWarp>
              <a:noAutofit/>
            </a:bodyPr>
            <a:lstStyle/>
            <a:p>
              <a:pPr marL="0" marR="0" lvl="0" indent="0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"/>
                <a:cs typeface="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482601" y="216377"/>
            <a:ext cx="9144000" cy="49244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troduction/Table of contents</a:t>
            </a:r>
            <a:r>
              <a:rPr lang="en-US" noProof="0" dirty="0"/>
              <a:t>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9998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/Table of content White,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7087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0737" y="757121"/>
            <a:ext cx="5597523" cy="5567437"/>
          </a:xfrm>
          <a:prstGeom prst="rect">
            <a:avLst/>
          </a:prstGeom>
        </p:spPr>
      </p:pic>
      <p:sp>
        <p:nvSpPr>
          <p:cNvPr id="219" name="Textplatzhalter 6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82600" y="1629093"/>
            <a:ext cx="5651500" cy="851515"/>
          </a:xfrm>
        </p:spPr>
        <p:txBody>
          <a:bodyPr>
            <a:spAutoFit/>
          </a:bodyPr>
          <a:lstStyle>
            <a:lvl1pPr marL="266700" indent="-266700"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5646738" algn="r"/>
              </a:tabLst>
              <a:defRPr b="0">
                <a:solidFill>
                  <a:schemeClr val="tx1"/>
                </a:solidFill>
              </a:defRPr>
            </a:lvl1pPr>
            <a:lvl3pPr>
              <a:tabLst>
                <a:tab pos="5646738" algn="r"/>
              </a:tabLst>
              <a:defRPr baseline="0"/>
            </a:lvl3pPr>
          </a:lstStyle>
          <a:p>
            <a:pPr lvl="0"/>
            <a:r>
              <a:rPr lang="en-US" dirty="0"/>
              <a:t>Click to add chapter title, [Tab] 	page #</a:t>
            </a:r>
          </a:p>
          <a:p>
            <a:pPr lvl="2"/>
            <a:r>
              <a:rPr lang="en-US" dirty="0"/>
              <a:t>Second level</a:t>
            </a: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1" y="796"/>
            <a:ext cx="12198350" cy="1624807"/>
            <a:chOff x="1" y="796"/>
            <a:chExt cx="12198350" cy="1624807"/>
          </a:xfrm>
        </p:grpSpPr>
        <p:sp>
          <p:nvSpPr>
            <p:cNvPr id="218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7" name="Freeform 11"/>
            <p:cNvSpPr>
              <a:spLocks/>
            </p:cNvSpPr>
            <p:nvPr userDrawn="1"/>
          </p:nvSpPr>
          <p:spPr bwMode="gray">
            <a:xfrm>
              <a:off x="1" y="1151075"/>
              <a:ext cx="12198350" cy="474528"/>
            </a:xfrm>
            <a:custGeom>
              <a:avLst/>
              <a:gdLst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4" fmla="*/ 93792 w 12207175"/>
                <a:gd name="connsiteY4" fmla="*/ 93820 h 1624807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2352 w 12207175"/>
                <a:gd name="connsiteY0" fmla="*/ 4126 h 1626553"/>
                <a:gd name="connsiteX1" fmla="*/ 31685 w 12207175"/>
                <a:gd name="connsiteY1" fmla="*/ 0 h 1626553"/>
                <a:gd name="connsiteX2" fmla="*/ 12207175 w 12207175"/>
                <a:gd name="connsiteY2" fmla="*/ 1746 h 1626553"/>
                <a:gd name="connsiteX3" fmla="*/ 12207175 w 12207175"/>
                <a:gd name="connsiteY3" fmla="*/ 1152025 h 1626553"/>
                <a:gd name="connsiteX4" fmla="*/ 0 w 12207175"/>
                <a:gd name="connsiteY4" fmla="*/ 1626553 h 1626553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12207175 w 12207175"/>
                <a:gd name="connsiteY0" fmla="*/ 0 h 1624807"/>
                <a:gd name="connsiteX1" fmla="*/ 12207175 w 12207175"/>
                <a:gd name="connsiteY1" fmla="*/ 1150279 h 1624807"/>
                <a:gd name="connsiteX2" fmla="*/ 0 w 12207175"/>
                <a:gd name="connsiteY2" fmla="*/ 1624807 h 1624807"/>
                <a:gd name="connsiteX0" fmla="*/ 12207175 w 12207175"/>
                <a:gd name="connsiteY0" fmla="*/ 0 h 474528"/>
                <a:gd name="connsiteX1" fmla="*/ 0 w 12207175"/>
                <a:gd name="connsiteY1" fmla="*/ 474528 h 47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07175" h="474528">
                  <a:moveTo>
                    <a:pt x="12207175" y="0"/>
                  </a:moveTo>
                  <a:cubicBezTo>
                    <a:pt x="9794392" y="10920"/>
                    <a:pt x="4154653" y="95989"/>
                    <a:pt x="0" y="474528"/>
                  </a:cubicBezTo>
                </a:path>
              </a:pathLst>
            </a:custGeom>
            <a:noFill/>
            <a:ln w="9525">
              <a:solidFill>
                <a:srgbClr val="F9B59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495" name="Gruppierung 140"/>
          <p:cNvGrpSpPr>
            <a:grpSpLocks noChangeAspect="1"/>
          </p:cNvGrpSpPr>
          <p:nvPr userDrawn="1"/>
        </p:nvGrpSpPr>
        <p:grpSpPr>
          <a:xfrm>
            <a:off x="10291931" y="341313"/>
            <a:ext cx="1638132" cy="385201"/>
            <a:chOff x="6613648" y="2453653"/>
            <a:chExt cx="2815390" cy="662028"/>
          </a:xfrm>
        </p:grpSpPr>
        <p:sp>
          <p:nvSpPr>
            <p:cNvPr id="496" name="Freihandform 495"/>
            <p:cNvSpPr>
              <a:spLocks noChangeAspect="1" noChangeArrowheads="1"/>
            </p:cNvSpPr>
            <p:nvPr/>
          </p:nvSpPr>
          <p:spPr bwMode="auto">
            <a:xfrm>
              <a:off x="8944950" y="2560629"/>
              <a:ext cx="484088" cy="476289"/>
            </a:xfrm>
            <a:custGeom>
              <a:avLst/>
              <a:gdLst>
                <a:gd name="connsiteX0" fmla="*/ 224003 w 484088"/>
                <a:gd name="connsiteY0" fmla="*/ 410646 h 476290"/>
                <a:gd name="connsiteX1" fmla="*/ 247187 w 484088"/>
                <a:gd name="connsiteY1" fmla="*/ 420103 h 476290"/>
                <a:gd name="connsiteX2" fmla="*/ 247187 w 484088"/>
                <a:gd name="connsiteY2" fmla="*/ 466833 h 476290"/>
                <a:gd name="connsiteX3" fmla="*/ 200818 w 484088"/>
                <a:gd name="connsiteY3" fmla="*/ 466833 h 476290"/>
                <a:gd name="connsiteX4" fmla="*/ 200818 w 484088"/>
                <a:gd name="connsiteY4" fmla="*/ 420103 h 476290"/>
                <a:gd name="connsiteX5" fmla="*/ 224003 w 484088"/>
                <a:gd name="connsiteY5" fmla="*/ 410646 h 476290"/>
                <a:gd name="connsiteX6" fmla="*/ 121049 w 484088"/>
                <a:gd name="connsiteY6" fmla="*/ 316301 h 476290"/>
                <a:gd name="connsiteX7" fmla="*/ 138696 w 484088"/>
                <a:gd name="connsiteY7" fmla="*/ 323796 h 476290"/>
                <a:gd name="connsiteX8" fmla="*/ 138696 w 484088"/>
                <a:gd name="connsiteY8" fmla="*/ 359325 h 476290"/>
                <a:gd name="connsiteX9" fmla="*/ 103128 w 484088"/>
                <a:gd name="connsiteY9" fmla="*/ 359325 h 476290"/>
                <a:gd name="connsiteX10" fmla="*/ 103128 w 484088"/>
                <a:gd name="connsiteY10" fmla="*/ 323796 h 476290"/>
                <a:gd name="connsiteX11" fmla="*/ 121049 w 484088"/>
                <a:gd name="connsiteY11" fmla="*/ 316301 h 476290"/>
                <a:gd name="connsiteX12" fmla="*/ 325449 w 484088"/>
                <a:gd name="connsiteY12" fmla="*/ 298284 h 476290"/>
                <a:gd name="connsiteX13" fmla="*/ 356024 w 484088"/>
                <a:gd name="connsiteY13" fmla="*/ 310902 h 476290"/>
                <a:gd name="connsiteX14" fmla="*/ 356024 w 484088"/>
                <a:gd name="connsiteY14" fmla="*/ 372214 h 476290"/>
                <a:gd name="connsiteX15" fmla="*/ 294874 w 484088"/>
                <a:gd name="connsiteY15" fmla="*/ 372214 h 476290"/>
                <a:gd name="connsiteX16" fmla="*/ 294874 w 484088"/>
                <a:gd name="connsiteY16" fmla="*/ 310902 h 476290"/>
                <a:gd name="connsiteX17" fmla="*/ 325449 w 484088"/>
                <a:gd name="connsiteY17" fmla="*/ 298284 h 476290"/>
                <a:gd name="connsiteX18" fmla="*/ 19273 w 484088"/>
                <a:gd name="connsiteY18" fmla="*/ 218685 h 476290"/>
                <a:gd name="connsiteX19" fmla="*/ 32986 w 484088"/>
                <a:gd name="connsiteY19" fmla="*/ 224259 h 476290"/>
                <a:gd name="connsiteX20" fmla="*/ 32986 w 484088"/>
                <a:gd name="connsiteY20" fmla="*/ 251759 h 476290"/>
                <a:gd name="connsiteX21" fmla="*/ 5560 w 484088"/>
                <a:gd name="connsiteY21" fmla="*/ 251759 h 476290"/>
                <a:gd name="connsiteX22" fmla="*/ 5560 w 484088"/>
                <a:gd name="connsiteY22" fmla="*/ 224259 h 476290"/>
                <a:gd name="connsiteX23" fmla="*/ 19273 w 484088"/>
                <a:gd name="connsiteY23" fmla="*/ 218685 h 476290"/>
                <a:gd name="connsiteX24" fmla="*/ 224003 w 484088"/>
                <a:gd name="connsiteY24" fmla="*/ 205318 h 476290"/>
                <a:gd name="connsiteX25" fmla="*/ 247187 w 484088"/>
                <a:gd name="connsiteY25" fmla="*/ 215174 h 476290"/>
                <a:gd name="connsiteX26" fmla="*/ 247187 w 484088"/>
                <a:gd name="connsiteY26" fmla="*/ 262482 h 476290"/>
                <a:gd name="connsiteX27" fmla="*/ 200818 w 484088"/>
                <a:gd name="connsiteY27" fmla="*/ 262482 h 476290"/>
                <a:gd name="connsiteX28" fmla="*/ 200818 w 484088"/>
                <a:gd name="connsiteY28" fmla="*/ 215174 h 476290"/>
                <a:gd name="connsiteX29" fmla="*/ 224003 w 484088"/>
                <a:gd name="connsiteY29" fmla="*/ 205318 h 476290"/>
                <a:gd name="connsiteX30" fmla="*/ 428279 w 484088"/>
                <a:gd name="connsiteY30" fmla="*/ 182871 h 476290"/>
                <a:gd name="connsiteX31" fmla="*/ 467652 w 484088"/>
                <a:gd name="connsiteY31" fmla="*/ 199351 h 476290"/>
                <a:gd name="connsiteX32" fmla="*/ 467652 w 484088"/>
                <a:gd name="connsiteY32" fmla="*/ 278307 h 476290"/>
                <a:gd name="connsiteX33" fmla="*/ 388906 w 484088"/>
                <a:gd name="connsiteY33" fmla="*/ 278307 h 476290"/>
                <a:gd name="connsiteX34" fmla="*/ 388906 w 484088"/>
                <a:gd name="connsiteY34" fmla="*/ 199351 h 476290"/>
                <a:gd name="connsiteX35" fmla="*/ 428279 w 484088"/>
                <a:gd name="connsiteY35" fmla="*/ 182871 h 476290"/>
                <a:gd name="connsiteX36" fmla="*/ 121049 w 484088"/>
                <a:gd name="connsiteY36" fmla="*/ 110842 h 476290"/>
                <a:gd name="connsiteX37" fmla="*/ 138696 w 484088"/>
                <a:gd name="connsiteY37" fmla="*/ 118337 h 476290"/>
                <a:gd name="connsiteX38" fmla="*/ 138696 w 484088"/>
                <a:gd name="connsiteY38" fmla="*/ 154236 h 476290"/>
                <a:gd name="connsiteX39" fmla="*/ 103128 w 484088"/>
                <a:gd name="connsiteY39" fmla="*/ 154236 h 476290"/>
                <a:gd name="connsiteX40" fmla="*/ 103128 w 484088"/>
                <a:gd name="connsiteY40" fmla="*/ 118337 h 476290"/>
                <a:gd name="connsiteX41" fmla="*/ 121049 w 484088"/>
                <a:gd name="connsiteY41" fmla="*/ 110842 h 476290"/>
                <a:gd name="connsiteX42" fmla="*/ 325683 w 484088"/>
                <a:gd name="connsiteY42" fmla="*/ 92919 h 476290"/>
                <a:gd name="connsiteX43" fmla="*/ 356092 w 484088"/>
                <a:gd name="connsiteY43" fmla="*/ 105817 h 476290"/>
                <a:gd name="connsiteX44" fmla="*/ 356092 w 484088"/>
                <a:gd name="connsiteY44" fmla="*/ 166756 h 476290"/>
                <a:gd name="connsiteX45" fmla="*/ 295553 w 484088"/>
                <a:gd name="connsiteY45" fmla="*/ 166756 h 476290"/>
                <a:gd name="connsiteX46" fmla="*/ 295553 w 484088"/>
                <a:gd name="connsiteY46" fmla="*/ 105817 h 476290"/>
                <a:gd name="connsiteX47" fmla="*/ 325683 w 484088"/>
                <a:gd name="connsiteY47" fmla="*/ 92919 h 476290"/>
                <a:gd name="connsiteX48" fmla="*/ 224003 w 484088"/>
                <a:gd name="connsiteY48" fmla="*/ 0 h 476290"/>
                <a:gd name="connsiteX49" fmla="*/ 247187 w 484088"/>
                <a:gd name="connsiteY49" fmla="*/ 9715 h 476290"/>
                <a:gd name="connsiteX50" fmla="*/ 247187 w 484088"/>
                <a:gd name="connsiteY50" fmla="*/ 57022 h 476290"/>
                <a:gd name="connsiteX51" fmla="*/ 200818 w 484088"/>
                <a:gd name="connsiteY51" fmla="*/ 57022 h 476290"/>
                <a:gd name="connsiteX52" fmla="*/ 200818 w 484088"/>
                <a:gd name="connsiteY52" fmla="*/ 9715 h 476290"/>
                <a:gd name="connsiteX53" fmla="*/ 224003 w 484088"/>
                <a:gd name="connsiteY53" fmla="*/ 0 h 476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84088" h="476290">
                  <a:moveTo>
                    <a:pt x="224003" y="410646"/>
                  </a:moveTo>
                  <a:cubicBezTo>
                    <a:pt x="232375" y="410646"/>
                    <a:pt x="240747" y="413798"/>
                    <a:pt x="247187" y="420103"/>
                  </a:cubicBezTo>
                  <a:cubicBezTo>
                    <a:pt x="260067" y="433084"/>
                    <a:pt x="260067" y="453853"/>
                    <a:pt x="247187" y="466833"/>
                  </a:cubicBezTo>
                  <a:cubicBezTo>
                    <a:pt x="234307" y="479443"/>
                    <a:pt x="213699" y="479443"/>
                    <a:pt x="200818" y="466833"/>
                  </a:cubicBezTo>
                  <a:cubicBezTo>
                    <a:pt x="188306" y="454224"/>
                    <a:pt x="188306" y="433455"/>
                    <a:pt x="200818" y="420103"/>
                  </a:cubicBezTo>
                  <a:cubicBezTo>
                    <a:pt x="207259" y="413798"/>
                    <a:pt x="215631" y="410646"/>
                    <a:pt x="224003" y="410646"/>
                  </a:cubicBezTo>
                  <a:close/>
                  <a:moveTo>
                    <a:pt x="121049" y="316301"/>
                  </a:moveTo>
                  <a:cubicBezTo>
                    <a:pt x="127512" y="316301"/>
                    <a:pt x="133929" y="318800"/>
                    <a:pt x="138696" y="323796"/>
                  </a:cubicBezTo>
                  <a:cubicBezTo>
                    <a:pt x="148597" y="333788"/>
                    <a:pt x="148597" y="349333"/>
                    <a:pt x="138696" y="359325"/>
                  </a:cubicBezTo>
                  <a:cubicBezTo>
                    <a:pt x="129162" y="369318"/>
                    <a:pt x="113028" y="369318"/>
                    <a:pt x="103128" y="359325"/>
                  </a:cubicBezTo>
                  <a:cubicBezTo>
                    <a:pt x="93227" y="349333"/>
                    <a:pt x="93227" y="333788"/>
                    <a:pt x="103128" y="323796"/>
                  </a:cubicBezTo>
                  <a:cubicBezTo>
                    <a:pt x="108078" y="318800"/>
                    <a:pt x="114587" y="316301"/>
                    <a:pt x="121049" y="316301"/>
                  </a:cubicBezTo>
                  <a:close/>
                  <a:moveTo>
                    <a:pt x="325449" y="298284"/>
                  </a:moveTo>
                  <a:cubicBezTo>
                    <a:pt x="336448" y="298284"/>
                    <a:pt x="347448" y="302490"/>
                    <a:pt x="356024" y="310902"/>
                  </a:cubicBezTo>
                  <a:cubicBezTo>
                    <a:pt x="372803" y="328099"/>
                    <a:pt x="373175" y="355016"/>
                    <a:pt x="356024" y="372214"/>
                  </a:cubicBezTo>
                  <a:cubicBezTo>
                    <a:pt x="339245" y="389037"/>
                    <a:pt x="312026" y="389037"/>
                    <a:pt x="294874" y="372214"/>
                  </a:cubicBezTo>
                  <a:cubicBezTo>
                    <a:pt x="278468" y="355016"/>
                    <a:pt x="278468" y="328099"/>
                    <a:pt x="294874" y="310902"/>
                  </a:cubicBezTo>
                  <a:cubicBezTo>
                    <a:pt x="303450" y="302490"/>
                    <a:pt x="314449" y="298284"/>
                    <a:pt x="325449" y="298284"/>
                  </a:cubicBezTo>
                  <a:close/>
                  <a:moveTo>
                    <a:pt x="19273" y="218685"/>
                  </a:moveTo>
                  <a:cubicBezTo>
                    <a:pt x="24277" y="218685"/>
                    <a:pt x="29280" y="220543"/>
                    <a:pt x="32986" y="224259"/>
                  </a:cubicBezTo>
                  <a:cubicBezTo>
                    <a:pt x="40399" y="231692"/>
                    <a:pt x="40399" y="243955"/>
                    <a:pt x="32986" y="251759"/>
                  </a:cubicBezTo>
                  <a:cubicBezTo>
                    <a:pt x="25574" y="259192"/>
                    <a:pt x="12972" y="259192"/>
                    <a:pt x="5560" y="251759"/>
                  </a:cubicBezTo>
                  <a:cubicBezTo>
                    <a:pt x="-1853" y="243955"/>
                    <a:pt x="-1853" y="231692"/>
                    <a:pt x="5560" y="224259"/>
                  </a:cubicBezTo>
                  <a:cubicBezTo>
                    <a:pt x="9266" y="220543"/>
                    <a:pt x="14270" y="218685"/>
                    <a:pt x="19273" y="218685"/>
                  </a:cubicBezTo>
                  <a:close/>
                  <a:moveTo>
                    <a:pt x="224003" y="205318"/>
                  </a:moveTo>
                  <a:cubicBezTo>
                    <a:pt x="232375" y="205318"/>
                    <a:pt x="240747" y="208604"/>
                    <a:pt x="247187" y="215174"/>
                  </a:cubicBezTo>
                  <a:cubicBezTo>
                    <a:pt x="260067" y="228315"/>
                    <a:pt x="260067" y="249341"/>
                    <a:pt x="247187" y="262482"/>
                  </a:cubicBezTo>
                  <a:cubicBezTo>
                    <a:pt x="234307" y="275624"/>
                    <a:pt x="213699" y="275624"/>
                    <a:pt x="200818" y="262482"/>
                  </a:cubicBezTo>
                  <a:cubicBezTo>
                    <a:pt x="188306" y="249341"/>
                    <a:pt x="188306" y="228315"/>
                    <a:pt x="200818" y="215174"/>
                  </a:cubicBezTo>
                  <a:cubicBezTo>
                    <a:pt x="207259" y="208604"/>
                    <a:pt x="215631" y="205318"/>
                    <a:pt x="224003" y="205318"/>
                  </a:cubicBezTo>
                  <a:close/>
                  <a:moveTo>
                    <a:pt x="428279" y="182871"/>
                  </a:moveTo>
                  <a:cubicBezTo>
                    <a:pt x="442487" y="182871"/>
                    <a:pt x="456694" y="188365"/>
                    <a:pt x="467652" y="199351"/>
                  </a:cubicBezTo>
                  <a:cubicBezTo>
                    <a:pt x="489567" y="221325"/>
                    <a:pt x="489567" y="256334"/>
                    <a:pt x="467652" y="278307"/>
                  </a:cubicBezTo>
                  <a:cubicBezTo>
                    <a:pt x="445737" y="300281"/>
                    <a:pt x="410821" y="300281"/>
                    <a:pt x="388906" y="278307"/>
                  </a:cubicBezTo>
                  <a:cubicBezTo>
                    <a:pt x="366991" y="256706"/>
                    <a:pt x="366991" y="221325"/>
                    <a:pt x="388906" y="199351"/>
                  </a:cubicBezTo>
                  <a:cubicBezTo>
                    <a:pt x="399864" y="188365"/>
                    <a:pt x="414071" y="182871"/>
                    <a:pt x="428279" y="182871"/>
                  </a:cubicBezTo>
                  <a:close/>
                  <a:moveTo>
                    <a:pt x="121049" y="110842"/>
                  </a:moveTo>
                  <a:cubicBezTo>
                    <a:pt x="127512" y="110842"/>
                    <a:pt x="133929" y="113340"/>
                    <a:pt x="138696" y="118337"/>
                  </a:cubicBezTo>
                  <a:cubicBezTo>
                    <a:pt x="148597" y="128329"/>
                    <a:pt x="148597" y="144244"/>
                    <a:pt x="138696" y="154236"/>
                  </a:cubicBezTo>
                  <a:cubicBezTo>
                    <a:pt x="129162" y="163859"/>
                    <a:pt x="113028" y="163859"/>
                    <a:pt x="103128" y="154236"/>
                  </a:cubicBezTo>
                  <a:cubicBezTo>
                    <a:pt x="93227" y="144244"/>
                    <a:pt x="93227" y="128329"/>
                    <a:pt x="103128" y="118337"/>
                  </a:cubicBezTo>
                  <a:cubicBezTo>
                    <a:pt x="108078" y="113340"/>
                    <a:pt x="114587" y="110842"/>
                    <a:pt x="121049" y="110842"/>
                  </a:cubicBezTo>
                  <a:close/>
                  <a:moveTo>
                    <a:pt x="325683" y="92919"/>
                  </a:moveTo>
                  <a:cubicBezTo>
                    <a:pt x="336593" y="92919"/>
                    <a:pt x="347550" y="97219"/>
                    <a:pt x="356092" y="105817"/>
                  </a:cubicBezTo>
                  <a:cubicBezTo>
                    <a:pt x="373177" y="122641"/>
                    <a:pt x="373177" y="149558"/>
                    <a:pt x="356092" y="166756"/>
                  </a:cubicBezTo>
                  <a:cubicBezTo>
                    <a:pt x="339007" y="183579"/>
                    <a:pt x="312638" y="183579"/>
                    <a:pt x="295553" y="166756"/>
                  </a:cubicBezTo>
                  <a:cubicBezTo>
                    <a:pt x="278840" y="149558"/>
                    <a:pt x="278468" y="122641"/>
                    <a:pt x="295553" y="105817"/>
                  </a:cubicBezTo>
                  <a:cubicBezTo>
                    <a:pt x="303910" y="97219"/>
                    <a:pt x="314773" y="92919"/>
                    <a:pt x="325683" y="92919"/>
                  </a:cubicBezTo>
                  <a:close/>
                  <a:moveTo>
                    <a:pt x="224003" y="0"/>
                  </a:moveTo>
                  <a:cubicBezTo>
                    <a:pt x="232375" y="-47"/>
                    <a:pt x="240747" y="3144"/>
                    <a:pt x="247187" y="9715"/>
                  </a:cubicBezTo>
                  <a:cubicBezTo>
                    <a:pt x="260067" y="22480"/>
                    <a:pt x="260067" y="44257"/>
                    <a:pt x="247187" y="57022"/>
                  </a:cubicBezTo>
                  <a:cubicBezTo>
                    <a:pt x="234307" y="70163"/>
                    <a:pt x="213699" y="69788"/>
                    <a:pt x="200818" y="57022"/>
                  </a:cubicBezTo>
                  <a:cubicBezTo>
                    <a:pt x="188306" y="43881"/>
                    <a:pt x="188306" y="22856"/>
                    <a:pt x="200818" y="9715"/>
                  </a:cubicBezTo>
                  <a:cubicBezTo>
                    <a:pt x="207259" y="3332"/>
                    <a:pt x="215631" y="47"/>
                    <a:pt x="224003" y="0"/>
                  </a:cubicBezTo>
                  <a:close/>
                </a:path>
              </a:pathLst>
            </a:custGeom>
            <a:solidFill>
              <a:srgbClr val="EC6602"/>
            </a:solidFill>
            <a:ln w="9525" cap="flat">
              <a:noFill/>
              <a:bevel/>
              <a:headEnd/>
              <a:tailEnd/>
            </a:ln>
            <a:effectLst/>
          </p:spPr>
          <p:txBody>
            <a:bodyPr wrap="square" anchor="ctr">
              <a:prstTxWarp prst="textNoShape">
                <a:avLst/>
              </a:prstTxWarp>
              <a:noAutofit/>
            </a:bodyPr>
            <a:lstStyle/>
            <a:p>
              <a:pPr marL="0" marR="0" lvl="0" indent="0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rPr>
                <a:t> </a:t>
              </a:r>
            </a:p>
          </p:txBody>
        </p:sp>
        <p:sp>
          <p:nvSpPr>
            <p:cNvPr id="497" name="Freihandform 496"/>
            <p:cNvSpPr>
              <a:spLocks noChangeAspect="1" noChangeArrowheads="1"/>
            </p:cNvSpPr>
            <p:nvPr/>
          </p:nvSpPr>
          <p:spPr bwMode="auto">
            <a:xfrm>
              <a:off x="7307072" y="2453653"/>
              <a:ext cx="1597948" cy="254396"/>
            </a:xfrm>
            <a:custGeom>
              <a:avLst/>
              <a:gdLst>
                <a:gd name="connsiteX0" fmla="*/ 1157347 w 1597949"/>
                <a:gd name="connsiteY0" fmla="*/ 4931 h 254396"/>
                <a:gd name="connsiteX1" fmla="*/ 1235941 w 1597949"/>
                <a:gd name="connsiteY1" fmla="*/ 4931 h 254396"/>
                <a:gd name="connsiteX2" fmla="*/ 1319354 w 1597949"/>
                <a:gd name="connsiteY2" fmla="*/ 168700 h 254396"/>
                <a:gd name="connsiteX3" fmla="*/ 1319354 w 1597949"/>
                <a:gd name="connsiteY3" fmla="*/ 4931 h 254396"/>
                <a:gd name="connsiteX4" fmla="*/ 1366807 w 1597949"/>
                <a:gd name="connsiteY4" fmla="*/ 4931 h 254396"/>
                <a:gd name="connsiteX5" fmla="*/ 1366807 w 1597949"/>
                <a:gd name="connsiteY5" fmla="*/ 249463 h 254396"/>
                <a:gd name="connsiteX6" fmla="*/ 1291179 w 1597949"/>
                <a:gd name="connsiteY6" fmla="*/ 249463 h 254396"/>
                <a:gd name="connsiteX7" fmla="*/ 1205170 w 1597949"/>
                <a:gd name="connsiteY7" fmla="*/ 83451 h 254396"/>
                <a:gd name="connsiteX8" fmla="*/ 1205170 w 1597949"/>
                <a:gd name="connsiteY8" fmla="*/ 249463 h 254396"/>
                <a:gd name="connsiteX9" fmla="*/ 1157347 w 1597949"/>
                <a:gd name="connsiteY9" fmla="*/ 249463 h 254396"/>
                <a:gd name="connsiteX10" fmla="*/ 936042 w 1597949"/>
                <a:gd name="connsiteY10" fmla="*/ 4931 h 254396"/>
                <a:gd name="connsiteX11" fmla="*/ 1110117 w 1597949"/>
                <a:gd name="connsiteY11" fmla="*/ 4931 h 254396"/>
                <a:gd name="connsiteX12" fmla="*/ 1110117 w 1597949"/>
                <a:gd name="connsiteY12" fmla="*/ 49052 h 254396"/>
                <a:gd name="connsiteX13" fmla="*/ 1001367 w 1597949"/>
                <a:gd name="connsiteY13" fmla="*/ 49052 h 254396"/>
                <a:gd name="connsiteX14" fmla="*/ 1001367 w 1597949"/>
                <a:gd name="connsiteY14" fmla="*/ 104015 h 254396"/>
                <a:gd name="connsiteX15" fmla="*/ 1096013 w 1597949"/>
                <a:gd name="connsiteY15" fmla="*/ 104015 h 254396"/>
                <a:gd name="connsiteX16" fmla="*/ 1096013 w 1597949"/>
                <a:gd name="connsiteY16" fmla="*/ 144771 h 254396"/>
                <a:gd name="connsiteX17" fmla="*/ 1001367 w 1597949"/>
                <a:gd name="connsiteY17" fmla="*/ 144771 h 254396"/>
                <a:gd name="connsiteX18" fmla="*/ 1001367 w 1597949"/>
                <a:gd name="connsiteY18" fmla="*/ 202725 h 254396"/>
                <a:gd name="connsiteX19" fmla="*/ 1112716 w 1597949"/>
                <a:gd name="connsiteY19" fmla="*/ 202725 h 254396"/>
                <a:gd name="connsiteX20" fmla="*/ 1112716 w 1597949"/>
                <a:gd name="connsiteY20" fmla="*/ 249463 h 254396"/>
                <a:gd name="connsiteX21" fmla="*/ 936042 w 1597949"/>
                <a:gd name="connsiteY21" fmla="*/ 249463 h 254396"/>
                <a:gd name="connsiteX22" fmla="*/ 577034 w 1597949"/>
                <a:gd name="connsiteY22" fmla="*/ 4931 h 254396"/>
                <a:gd name="connsiteX23" fmla="*/ 665266 w 1597949"/>
                <a:gd name="connsiteY23" fmla="*/ 4931 h 254396"/>
                <a:gd name="connsiteX24" fmla="*/ 725949 w 1597949"/>
                <a:gd name="connsiteY24" fmla="*/ 160843 h 254396"/>
                <a:gd name="connsiteX25" fmla="*/ 789611 w 1597949"/>
                <a:gd name="connsiteY25" fmla="*/ 4931 h 254396"/>
                <a:gd name="connsiteX26" fmla="*/ 873375 w 1597949"/>
                <a:gd name="connsiteY26" fmla="*/ 4931 h 254396"/>
                <a:gd name="connsiteX27" fmla="*/ 873375 w 1597949"/>
                <a:gd name="connsiteY27" fmla="*/ 248870 h 254396"/>
                <a:gd name="connsiteX28" fmla="*/ 808225 w 1597949"/>
                <a:gd name="connsiteY28" fmla="*/ 248870 h 254396"/>
                <a:gd name="connsiteX29" fmla="*/ 808225 w 1597949"/>
                <a:gd name="connsiteY29" fmla="*/ 75800 h 254396"/>
                <a:gd name="connsiteX30" fmla="*/ 737118 w 1597949"/>
                <a:gd name="connsiteY30" fmla="*/ 251108 h 254396"/>
                <a:gd name="connsiteX31" fmla="*/ 694677 w 1597949"/>
                <a:gd name="connsiteY31" fmla="*/ 251108 h 254396"/>
                <a:gd name="connsiteX32" fmla="*/ 625059 w 1597949"/>
                <a:gd name="connsiteY32" fmla="*/ 75800 h 254396"/>
                <a:gd name="connsiteX33" fmla="*/ 625059 w 1597949"/>
                <a:gd name="connsiteY33" fmla="*/ 248870 h 254396"/>
                <a:gd name="connsiteX34" fmla="*/ 577034 w 1597949"/>
                <a:gd name="connsiteY34" fmla="*/ 248870 h 254396"/>
                <a:gd name="connsiteX35" fmla="*/ 355729 w 1597949"/>
                <a:gd name="connsiteY35" fmla="*/ 4931 h 254396"/>
                <a:gd name="connsiteX36" fmla="*/ 530170 w 1597949"/>
                <a:gd name="connsiteY36" fmla="*/ 4931 h 254396"/>
                <a:gd name="connsiteX37" fmla="*/ 530170 w 1597949"/>
                <a:gd name="connsiteY37" fmla="*/ 49052 h 254396"/>
                <a:gd name="connsiteX38" fmla="*/ 420819 w 1597949"/>
                <a:gd name="connsiteY38" fmla="*/ 49052 h 254396"/>
                <a:gd name="connsiteX39" fmla="*/ 420819 w 1597949"/>
                <a:gd name="connsiteY39" fmla="*/ 104015 h 254396"/>
                <a:gd name="connsiteX40" fmla="*/ 516036 w 1597949"/>
                <a:gd name="connsiteY40" fmla="*/ 104015 h 254396"/>
                <a:gd name="connsiteX41" fmla="*/ 516036 w 1597949"/>
                <a:gd name="connsiteY41" fmla="*/ 144771 h 254396"/>
                <a:gd name="connsiteX42" fmla="*/ 420819 w 1597949"/>
                <a:gd name="connsiteY42" fmla="*/ 144771 h 254396"/>
                <a:gd name="connsiteX43" fmla="*/ 420819 w 1597949"/>
                <a:gd name="connsiteY43" fmla="*/ 202725 h 254396"/>
                <a:gd name="connsiteX44" fmla="*/ 532402 w 1597949"/>
                <a:gd name="connsiteY44" fmla="*/ 202725 h 254396"/>
                <a:gd name="connsiteX45" fmla="*/ 532402 w 1597949"/>
                <a:gd name="connsiteY45" fmla="*/ 249463 h 254396"/>
                <a:gd name="connsiteX46" fmla="*/ 355729 w 1597949"/>
                <a:gd name="connsiteY46" fmla="*/ 249463 h 254396"/>
                <a:gd name="connsiteX47" fmla="*/ 226224 w 1597949"/>
                <a:gd name="connsiteY47" fmla="*/ 4931 h 254396"/>
                <a:gd name="connsiteX48" fmla="*/ 293068 w 1597949"/>
                <a:gd name="connsiteY48" fmla="*/ 4931 h 254396"/>
                <a:gd name="connsiteX49" fmla="*/ 293068 w 1597949"/>
                <a:gd name="connsiteY49" fmla="*/ 249464 h 254396"/>
                <a:gd name="connsiteX50" fmla="*/ 259646 w 1597949"/>
                <a:gd name="connsiteY50" fmla="*/ 249464 h 254396"/>
                <a:gd name="connsiteX51" fmla="*/ 226224 w 1597949"/>
                <a:gd name="connsiteY51" fmla="*/ 249464 h 254396"/>
                <a:gd name="connsiteX52" fmla="*/ 1509330 w 1597949"/>
                <a:gd name="connsiteY52" fmla="*/ 0 h 254396"/>
                <a:gd name="connsiteX53" fmla="*/ 1573106 w 1597949"/>
                <a:gd name="connsiteY53" fmla="*/ 7806 h 254396"/>
                <a:gd name="connsiteX54" fmla="*/ 1579039 w 1597949"/>
                <a:gd name="connsiteY54" fmla="*/ 8921 h 254396"/>
                <a:gd name="connsiteX55" fmla="*/ 1579039 w 1597949"/>
                <a:gd name="connsiteY55" fmla="*/ 55011 h 254396"/>
                <a:gd name="connsiteX56" fmla="*/ 1516004 w 1597949"/>
                <a:gd name="connsiteY56" fmla="*/ 41630 h 254396"/>
                <a:gd name="connsiteX57" fmla="*/ 1475217 w 1597949"/>
                <a:gd name="connsiteY57" fmla="*/ 63932 h 254396"/>
                <a:gd name="connsiteX58" fmla="*/ 1483745 w 1597949"/>
                <a:gd name="connsiteY58" fmla="*/ 78056 h 254396"/>
                <a:gd name="connsiteX59" fmla="*/ 1521195 w 1597949"/>
                <a:gd name="connsiteY59" fmla="*/ 96641 h 254396"/>
                <a:gd name="connsiteX60" fmla="*/ 1580522 w 1597949"/>
                <a:gd name="connsiteY60" fmla="*/ 130837 h 254396"/>
                <a:gd name="connsiteX61" fmla="*/ 1597949 w 1597949"/>
                <a:gd name="connsiteY61" fmla="*/ 175812 h 254396"/>
                <a:gd name="connsiteX62" fmla="*/ 1563466 w 1597949"/>
                <a:gd name="connsiteY62" fmla="*/ 236027 h 254396"/>
                <a:gd name="connsiteX63" fmla="*/ 1491532 w 1597949"/>
                <a:gd name="connsiteY63" fmla="*/ 252753 h 254396"/>
                <a:gd name="connsiteX64" fmla="*/ 1415890 w 1597949"/>
                <a:gd name="connsiteY64" fmla="*/ 243833 h 254396"/>
                <a:gd name="connsiteX65" fmla="*/ 1415890 w 1597949"/>
                <a:gd name="connsiteY65" fmla="*/ 195884 h 254396"/>
                <a:gd name="connsiteX66" fmla="*/ 1488565 w 1597949"/>
                <a:gd name="connsiteY66" fmla="*/ 208893 h 254396"/>
                <a:gd name="connsiteX67" fmla="*/ 1532319 w 1597949"/>
                <a:gd name="connsiteY67" fmla="*/ 186220 h 254396"/>
                <a:gd name="connsiteX68" fmla="*/ 1526386 w 1597949"/>
                <a:gd name="connsiteY68" fmla="*/ 171724 h 254396"/>
                <a:gd name="connsiteX69" fmla="*/ 1493015 w 1597949"/>
                <a:gd name="connsiteY69" fmla="*/ 154254 h 254396"/>
                <a:gd name="connsiteX70" fmla="*/ 1430351 w 1597949"/>
                <a:gd name="connsiteY70" fmla="*/ 120430 h 254396"/>
                <a:gd name="connsiteX71" fmla="*/ 1411440 w 1597949"/>
                <a:gd name="connsiteY71" fmla="*/ 73596 h 254396"/>
                <a:gd name="connsiteX72" fmla="*/ 1438879 w 1597949"/>
                <a:gd name="connsiteY72" fmla="*/ 18957 h 254396"/>
                <a:gd name="connsiteX73" fmla="*/ 1509330 w 1597949"/>
                <a:gd name="connsiteY73" fmla="*/ 0 h 254396"/>
                <a:gd name="connsiteX74" fmla="*/ 97518 w 1597949"/>
                <a:gd name="connsiteY74" fmla="*/ 0 h 254396"/>
                <a:gd name="connsiteX75" fmla="*/ 166857 w 1597949"/>
                <a:gd name="connsiteY75" fmla="*/ 8966 h 254396"/>
                <a:gd name="connsiteX76" fmla="*/ 166857 w 1597949"/>
                <a:gd name="connsiteY76" fmla="*/ 55661 h 254396"/>
                <a:gd name="connsiteX77" fmla="*/ 104564 w 1597949"/>
                <a:gd name="connsiteY77" fmla="*/ 42213 h 254396"/>
                <a:gd name="connsiteX78" fmla="*/ 64147 w 1597949"/>
                <a:gd name="connsiteY78" fmla="*/ 64626 h 254396"/>
                <a:gd name="connsiteX79" fmla="*/ 72675 w 1597949"/>
                <a:gd name="connsiteY79" fmla="*/ 78448 h 254396"/>
                <a:gd name="connsiteX80" fmla="*/ 109755 w 1597949"/>
                <a:gd name="connsiteY80" fmla="*/ 97126 h 254396"/>
                <a:gd name="connsiteX81" fmla="*/ 169082 w 1597949"/>
                <a:gd name="connsiteY81" fmla="*/ 131494 h 254396"/>
                <a:gd name="connsiteX82" fmla="*/ 186509 w 1597949"/>
                <a:gd name="connsiteY82" fmla="*/ 176695 h 254396"/>
                <a:gd name="connsiteX83" fmla="*/ 152025 w 1597949"/>
                <a:gd name="connsiteY83" fmla="*/ 237212 h 254396"/>
                <a:gd name="connsiteX84" fmla="*/ 80462 w 1597949"/>
                <a:gd name="connsiteY84" fmla="*/ 254396 h 254396"/>
                <a:gd name="connsiteX85" fmla="*/ 4820 w 1597949"/>
                <a:gd name="connsiteY85" fmla="*/ 244683 h 254396"/>
                <a:gd name="connsiteX86" fmla="*/ 4820 w 1597949"/>
                <a:gd name="connsiteY86" fmla="*/ 196494 h 254396"/>
                <a:gd name="connsiteX87" fmla="*/ 77496 w 1597949"/>
                <a:gd name="connsiteY87" fmla="*/ 209568 h 254396"/>
                <a:gd name="connsiteX88" fmla="*/ 120878 w 1597949"/>
                <a:gd name="connsiteY88" fmla="*/ 186781 h 254396"/>
                <a:gd name="connsiteX89" fmla="*/ 114204 w 1597949"/>
                <a:gd name="connsiteY89" fmla="*/ 172212 h 254396"/>
                <a:gd name="connsiteX90" fmla="*/ 81574 w 1597949"/>
                <a:gd name="connsiteY90" fmla="*/ 154655 h 254396"/>
                <a:gd name="connsiteX91" fmla="*/ 18910 w 1597949"/>
                <a:gd name="connsiteY91" fmla="*/ 120661 h 254396"/>
                <a:gd name="connsiteX92" fmla="*/ 0 w 1597949"/>
                <a:gd name="connsiteY92" fmla="*/ 73965 h 254396"/>
                <a:gd name="connsiteX93" fmla="*/ 27438 w 1597949"/>
                <a:gd name="connsiteY93" fmla="*/ 19052 h 254396"/>
                <a:gd name="connsiteX94" fmla="*/ 97518 w 1597949"/>
                <a:gd name="connsiteY94" fmla="*/ 0 h 254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597949" h="254396">
                  <a:moveTo>
                    <a:pt x="1157347" y="4931"/>
                  </a:moveTo>
                  <a:lnTo>
                    <a:pt x="1235941" y="4931"/>
                  </a:lnTo>
                  <a:lnTo>
                    <a:pt x="1319354" y="168700"/>
                  </a:lnTo>
                  <a:lnTo>
                    <a:pt x="1319354" y="4931"/>
                  </a:lnTo>
                  <a:lnTo>
                    <a:pt x="1366807" y="4931"/>
                  </a:lnTo>
                  <a:lnTo>
                    <a:pt x="1366807" y="249463"/>
                  </a:lnTo>
                  <a:lnTo>
                    <a:pt x="1291179" y="249463"/>
                  </a:lnTo>
                  <a:lnTo>
                    <a:pt x="1205170" y="83451"/>
                  </a:lnTo>
                  <a:lnTo>
                    <a:pt x="1205170" y="249463"/>
                  </a:lnTo>
                  <a:lnTo>
                    <a:pt x="1157347" y="249463"/>
                  </a:lnTo>
                  <a:close/>
                  <a:moveTo>
                    <a:pt x="936042" y="4931"/>
                  </a:moveTo>
                  <a:lnTo>
                    <a:pt x="1110117" y="4931"/>
                  </a:lnTo>
                  <a:lnTo>
                    <a:pt x="1110117" y="49052"/>
                  </a:lnTo>
                  <a:lnTo>
                    <a:pt x="1001367" y="49052"/>
                  </a:lnTo>
                  <a:lnTo>
                    <a:pt x="1001367" y="104015"/>
                  </a:lnTo>
                  <a:lnTo>
                    <a:pt x="1096013" y="104015"/>
                  </a:lnTo>
                  <a:lnTo>
                    <a:pt x="1096013" y="144771"/>
                  </a:lnTo>
                  <a:lnTo>
                    <a:pt x="1001367" y="144771"/>
                  </a:lnTo>
                  <a:lnTo>
                    <a:pt x="1001367" y="202725"/>
                  </a:lnTo>
                  <a:lnTo>
                    <a:pt x="1112716" y="202725"/>
                  </a:lnTo>
                  <a:lnTo>
                    <a:pt x="1112716" y="249463"/>
                  </a:lnTo>
                  <a:lnTo>
                    <a:pt x="936042" y="249463"/>
                  </a:lnTo>
                  <a:close/>
                  <a:moveTo>
                    <a:pt x="577034" y="4931"/>
                  </a:moveTo>
                  <a:lnTo>
                    <a:pt x="665266" y="4931"/>
                  </a:lnTo>
                  <a:lnTo>
                    <a:pt x="725949" y="160843"/>
                  </a:lnTo>
                  <a:lnTo>
                    <a:pt x="789611" y="4931"/>
                  </a:lnTo>
                  <a:lnTo>
                    <a:pt x="873375" y="4931"/>
                  </a:lnTo>
                  <a:lnTo>
                    <a:pt x="873375" y="248870"/>
                  </a:lnTo>
                  <a:lnTo>
                    <a:pt x="808225" y="248870"/>
                  </a:lnTo>
                  <a:lnTo>
                    <a:pt x="808225" y="75800"/>
                  </a:lnTo>
                  <a:lnTo>
                    <a:pt x="737118" y="251108"/>
                  </a:lnTo>
                  <a:lnTo>
                    <a:pt x="694677" y="251108"/>
                  </a:lnTo>
                  <a:lnTo>
                    <a:pt x="625059" y="75800"/>
                  </a:lnTo>
                  <a:lnTo>
                    <a:pt x="625059" y="248870"/>
                  </a:lnTo>
                  <a:lnTo>
                    <a:pt x="577034" y="248870"/>
                  </a:lnTo>
                  <a:close/>
                  <a:moveTo>
                    <a:pt x="355729" y="4931"/>
                  </a:moveTo>
                  <a:lnTo>
                    <a:pt x="530170" y="4931"/>
                  </a:lnTo>
                  <a:lnTo>
                    <a:pt x="530170" y="49052"/>
                  </a:lnTo>
                  <a:lnTo>
                    <a:pt x="420819" y="49052"/>
                  </a:lnTo>
                  <a:lnTo>
                    <a:pt x="420819" y="104015"/>
                  </a:lnTo>
                  <a:lnTo>
                    <a:pt x="516036" y="104015"/>
                  </a:lnTo>
                  <a:lnTo>
                    <a:pt x="516036" y="144771"/>
                  </a:lnTo>
                  <a:lnTo>
                    <a:pt x="420819" y="144771"/>
                  </a:lnTo>
                  <a:lnTo>
                    <a:pt x="420819" y="202725"/>
                  </a:lnTo>
                  <a:lnTo>
                    <a:pt x="532402" y="202725"/>
                  </a:lnTo>
                  <a:lnTo>
                    <a:pt x="532402" y="249463"/>
                  </a:lnTo>
                  <a:lnTo>
                    <a:pt x="355729" y="249463"/>
                  </a:lnTo>
                  <a:close/>
                  <a:moveTo>
                    <a:pt x="226224" y="4931"/>
                  </a:moveTo>
                  <a:lnTo>
                    <a:pt x="293068" y="4931"/>
                  </a:lnTo>
                  <a:lnTo>
                    <a:pt x="293068" y="249464"/>
                  </a:lnTo>
                  <a:lnTo>
                    <a:pt x="259646" y="249464"/>
                  </a:lnTo>
                  <a:lnTo>
                    <a:pt x="226224" y="249464"/>
                  </a:lnTo>
                  <a:close/>
                  <a:moveTo>
                    <a:pt x="1509330" y="0"/>
                  </a:moveTo>
                  <a:cubicBezTo>
                    <a:pt x="1525645" y="0"/>
                    <a:pt x="1546780" y="2230"/>
                    <a:pt x="1573106" y="7806"/>
                  </a:cubicBezTo>
                  <a:lnTo>
                    <a:pt x="1579039" y="8921"/>
                  </a:lnTo>
                  <a:lnTo>
                    <a:pt x="1579039" y="55011"/>
                  </a:lnTo>
                  <a:cubicBezTo>
                    <a:pt x="1556421" y="46090"/>
                    <a:pt x="1535285" y="41630"/>
                    <a:pt x="1516004" y="41630"/>
                  </a:cubicBezTo>
                  <a:cubicBezTo>
                    <a:pt x="1488565" y="41630"/>
                    <a:pt x="1475217" y="49064"/>
                    <a:pt x="1475217" y="63932"/>
                  </a:cubicBezTo>
                  <a:cubicBezTo>
                    <a:pt x="1475217" y="69507"/>
                    <a:pt x="1477812" y="73968"/>
                    <a:pt x="1483745" y="78056"/>
                  </a:cubicBezTo>
                  <a:cubicBezTo>
                    <a:pt x="1488195" y="81030"/>
                    <a:pt x="1500431" y="86977"/>
                    <a:pt x="1521195" y="96641"/>
                  </a:cubicBezTo>
                  <a:cubicBezTo>
                    <a:pt x="1550488" y="109279"/>
                    <a:pt x="1570511" y="120801"/>
                    <a:pt x="1580522" y="130837"/>
                  </a:cubicBezTo>
                  <a:cubicBezTo>
                    <a:pt x="1592017" y="142360"/>
                    <a:pt x="1597949" y="157228"/>
                    <a:pt x="1597949" y="175812"/>
                  </a:cubicBezTo>
                  <a:cubicBezTo>
                    <a:pt x="1597949" y="202203"/>
                    <a:pt x="1586455" y="221903"/>
                    <a:pt x="1563466" y="236027"/>
                  </a:cubicBezTo>
                  <a:cubicBezTo>
                    <a:pt x="1544555" y="247178"/>
                    <a:pt x="1520824" y="252753"/>
                    <a:pt x="1491532" y="252753"/>
                  </a:cubicBezTo>
                  <a:cubicBezTo>
                    <a:pt x="1466689" y="252753"/>
                    <a:pt x="1441475" y="249780"/>
                    <a:pt x="1415890" y="243833"/>
                  </a:cubicBezTo>
                  <a:lnTo>
                    <a:pt x="1415890" y="195884"/>
                  </a:lnTo>
                  <a:cubicBezTo>
                    <a:pt x="1442958" y="204433"/>
                    <a:pt x="1467059" y="208893"/>
                    <a:pt x="1488565" y="208893"/>
                  </a:cubicBezTo>
                  <a:cubicBezTo>
                    <a:pt x="1517487" y="208893"/>
                    <a:pt x="1532319" y="201459"/>
                    <a:pt x="1532319" y="186220"/>
                  </a:cubicBezTo>
                  <a:cubicBezTo>
                    <a:pt x="1532319" y="180273"/>
                    <a:pt x="1530465" y="175812"/>
                    <a:pt x="1526386" y="171724"/>
                  </a:cubicBezTo>
                  <a:cubicBezTo>
                    <a:pt x="1521937" y="167635"/>
                    <a:pt x="1510813" y="161688"/>
                    <a:pt x="1493015" y="154254"/>
                  </a:cubicBezTo>
                  <a:cubicBezTo>
                    <a:pt x="1461127" y="141245"/>
                    <a:pt x="1440362" y="129722"/>
                    <a:pt x="1430351" y="120430"/>
                  </a:cubicBezTo>
                  <a:cubicBezTo>
                    <a:pt x="1418115" y="108535"/>
                    <a:pt x="1411440" y="92552"/>
                    <a:pt x="1411440" y="73596"/>
                  </a:cubicBezTo>
                  <a:cubicBezTo>
                    <a:pt x="1411440" y="49807"/>
                    <a:pt x="1420339" y="31223"/>
                    <a:pt x="1438879" y="18957"/>
                  </a:cubicBezTo>
                  <a:cubicBezTo>
                    <a:pt x="1456677" y="6319"/>
                    <a:pt x="1480779" y="0"/>
                    <a:pt x="1509330" y="0"/>
                  </a:cubicBezTo>
                  <a:close/>
                  <a:moveTo>
                    <a:pt x="97518" y="0"/>
                  </a:moveTo>
                  <a:cubicBezTo>
                    <a:pt x="113463" y="0"/>
                    <a:pt x="136823" y="2989"/>
                    <a:pt x="166857" y="8966"/>
                  </a:cubicBezTo>
                  <a:lnTo>
                    <a:pt x="166857" y="55661"/>
                  </a:lnTo>
                  <a:cubicBezTo>
                    <a:pt x="144609" y="46695"/>
                    <a:pt x="123845" y="42213"/>
                    <a:pt x="104564" y="42213"/>
                  </a:cubicBezTo>
                  <a:cubicBezTo>
                    <a:pt x="77496" y="42213"/>
                    <a:pt x="64147" y="49684"/>
                    <a:pt x="64147" y="64626"/>
                  </a:cubicBezTo>
                  <a:cubicBezTo>
                    <a:pt x="64147" y="70230"/>
                    <a:pt x="67113" y="74712"/>
                    <a:pt x="72675" y="78448"/>
                  </a:cubicBezTo>
                  <a:cubicBezTo>
                    <a:pt x="77125" y="81437"/>
                    <a:pt x="89732" y="87414"/>
                    <a:pt x="109755" y="97126"/>
                  </a:cubicBezTo>
                  <a:cubicBezTo>
                    <a:pt x="139789" y="110201"/>
                    <a:pt x="159441" y="121408"/>
                    <a:pt x="169082" y="131494"/>
                  </a:cubicBezTo>
                  <a:cubicBezTo>
                    <a:pt x="180947" y="142701"/>
                    <a:pt x="186509" y="158017"/>
                    <a:pt x="186509" y="176695"/>
                  </a:cubicBezTo>
                  <a:cubicBezTo>
                    <a:pt x="186509" y="203218"/>
                    <a:pt x="175014" y="223016"/>
                    <a:pt x="152025" y="237212"/>
                  </a:cubicBezTo>
                  <a:cubicBezTo>
                    <a:pt x="133856" y="248792"/>
                    <a:pt x="109384" y="254396"/>
                    <a:pt x="80462" y="254396"/>
                  </a:cubicBezTo>
                  <a:cubicBezTo>
                    <a:pt x="55619" y="253648"/>
                    <a:pt x="30405" y="250660"/>
                    <a:pt x="4820" y="244683"/>
                  </a:cubicBezTo>
                  <a:lnTo>
                    <a:pt x="4820" y="196494"/>
                  </a:lnTo>
                  <a:cubicBezTo>
                    <a:pt x="32259" y="205085"/>
                    <a:pt x="56731" y="209568"/>
                    <a:pt x="77496" y="209568"/>
                  </a:cubicBezTo>
                  <a:cubicBezTo>
                    <a:pt x="106047" y="209568"/>
                    <a:pt x="120878" y="202097"/>
                    <a:pt x="120878" y="186781"/>
                  </a:cubicBezTo>
                  <a:cubicBezTo>
                    <a:pt x="120878" y="180804"/>
                    <a:pt x="119025" y="176321"/>
                    <a:pt x="114204" y="172212"/>
                  </a:cubicBezTo>
                  <a:cubicBezTo>
                    <a:pt x="109755" y="168103"/>
                    <a:pt x="99002" y="162126"/>
                    <a:pt x="81574" y="154655"/>
                  </a:cubicBezTo>
                  <a:cubicBezTo>
                    <a:pt x="49686" y="141580"/>
                    <a:pt x="28922" y="130000"/>
                    <a:pt x="18910" y="120661"/>
                  </a:cubicBezTo>
                  <a:cubicBezTo>
                    <a:pt x="6303" y="107959"/>
                    <a:pt x="0" y="92643"/>
                    <a:pt x="0" y="73965"/>
                  </a:cubicBezTo>
                  <a:cubicBezTo>
                    <a:pt x="0" y="50057"/>
                    <a:pt x="8899" y="31379"/>
                    <a:pt x="27438" y="19052"/>
                  </a:cubicBezTo>
                  <a:cubicBezTo>
                    <a:pt x="45237" y="6351"/>
                    <a:pt x="68967" y="0"/>
                    <a:pt x="97518" y="0"/>
                  </a:cubicBezTo>
                  <a:close/>
                </a:path>
              </a:pathLst>
            </a:custGeom>
            <a:solidFill>
              <a:srgbClr val="009999"/>
            </a:solidFill>
            <a:ln w="9525" cap="flat">
              <a:noFill/>
              <a:bevel/>
              <a:headEnd/>
              <a:tailEnd/>
            </a:ln>
            <a:effectLst/>
          </p:spPr>
          <p:txBody>
            <a:bodyPr wrap="square" anchor="ctr">
              <a:prstTxWarp prst="textNoShape">
                <a:avLst/>
              </a:prstTxWarp>
              <a:noAutofit/>
            </a:bodyPr>
            <a:lstStyle/>
            <a:p>
              <a:pPr marL="0" marR="0" lvl="0" indent="0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"/>
                <a:cs typeface=""/>
              </a:endParaRPr>
            </a:p>
          </p:txBody>
        </p:sp>
        <p:sp>
          <p:nvSpPr>
            <p:cNvPr id="498" name="Freihandform 497"/>
            <p:cNvSpPr>
              <a:spLocks noChangeAspect="1" noChangeArrowheads="1"/>
            </p:cNvSpPr>
            <p:nvPr/>
          </p:nvSpPr>
          <p:spPr bwMode="auto">
            <a:xfrm>
              <a:off x="6613648" y="2798826"/>
              <a:ext cx="2292197" cy="316855"/>
            </a:xfrm>
            <a:custGeom>
              <a:avLst/>
              <a:gdLst>
                <a:gd name="connsiteX0" fmla="*/ 561040 w 2292197"/>
                <a:gd name="connsiteY0" fmla="*/ 133276 h 316856"/>
                <a:gd name="connsiteX1" fmla="*/ 514756 w 2292197"/>
                <a:gd name="connsiteY1" fmla="*/ 208959 h 316856"/>
                <a:gd name="connsiteX2" fmla="*/ 553264 w 2292197"/>
                <a:gd name="connsiteY2" fmla="*/ 272711 h 316856"/>
                <a:gd name="connsiteX3" fmla="*/ 587329 w 2292197"/>
                <a:gd name="connsiteY3" fmla="*/ 241394 h 316856"/>
                <a:gd name="connsiteX4" fmla="*/ 587329 w 2292197"/>
                <a:gd name="connsiteY4" fmla="*/ 137750 h 316856"/>
                <a:gd name="connsiteX5" fmla="*/ 561040 w 2292197"/>
                <a:gd name="connsiteY5" fmla="*/ 133276 h 316856"/>
                <a:gd name="connsiteX6" fmla="*/ 1864005 w 2292197"/>
                <a:gd name="connsiteY6" fmla="*/ 131508 h 316856"/>
                <a:gd name="connsiteX7" fmla="*/ 1819277 w 2292197"/>
                <a:gd name="connsiteY7" fmla="*/ 188681 h 316856"/>
                <a:gd name="connsiteX8" fmla="*/ 1885623 w 2292197"/>
                <a:gd name="connsiteY8" fmla="*/ 152434 h 316856"/>
                <a:gd name="connsiteX9" fmla="*/ 1864005 w 2292197"/>
                <a:gd name="connsiteY9" fmla="*/ 131508 h 316856"/>
                <a:gd name="connsiteX10" fmla="*/ 1660732 w 2292197"/>
                <a:gd name="connsiteY10" fmla="*/ 131508 h 316856"/>
                <a:gd name="connsiteX11" fmla="*/ 1615632 w 2292197"/>
                <a:gd name="connsiteY11" fmla="*/ 188681 h 316856"/>
                <a:gd name="connsiteX12" fmla="*/ 1681977 w 2292197"/>
                <a:gd name="connsiteY12" fmla="*/ 152434 h 316856"/>
                <a:gd name="connsiteX13" fmla="*/ 1660732 w 2292197"/>
                <a:gd name="connsiteY13" fmla="*/ 131508 h 316856"/>
                <a:gd name="connsiteX14" fmla="*/ 351674 w 2292197"/>
                <a:gd name="connsiteY14" fmla="*/ 131508 h 316856"/>
                <a:gd name="connsiteX15" fmla="*/ 306574 w 2292197"/>
                <a:gd name="connsiteY15" fmla="*/ 188681 h 316856"/>
                <a:gd name="connsiteX16" fmla="*/ 372919 w 2292197"/>
                <a:gd name="connsiteY16" fmla="*/ 152434 h 316856"/>
                <a:gd name="connsiteX17" fmla="*/ 351674 w 2292197"/>
                <a:gd name="connsiteY17" fmla="*/ 131508 h 316856"/>
                <a:gd name="connsiteX18" fmla="*/ 1234395 w 2292197"/>
                <a:gd name="connsiteY18" fmla="*/ 96976 h 316856"/>
                <a:gd name="connsiteX19" fmla="*/ 1293037 w 2292197"/>
                <a:gd name="connsiteY19" fmla="*/ 96976 h 316856"/>
                <a:gd name="connsiteX20" fmla="*/ 1293037 w 2292197"/>
                <a:gd name="connsiteY20" fmla="*/ 310280 h 316856"/>
                <a:gd name="connsiteX21" fmla="*/ 1263529 w 2292197"/>
                <a:gd name="connsiteY21" fmla="*/ 310280 h 316856"/>
                <a:gd name="connsiteX22" fmla="*/ 1234395 w 2292197"/>
                <a:gd name="connsiteY22" fmla="*/ 310280 h 316856"/>
                <a:gd name="connsiteX23" fmla="*/ 2081174 w 2292197"/>
                <a:gd name="connsiteY23" fmla="*/ 90402 h 316856"/>
                <a:gd name="connsiteX24" fmla="*/ 2115969 w 2292197"/>
                <a:gd name="connsiteY24" fmla="*/ 97838 h 316856"/>
                <a:gd name="connsiteX25" fmla="*/ 2105604 w 2292197"/>
                <a:gd name="connsiteY25" fmla="*/ 148028 h 316856"/>
                <a:gd name="connsiteX26" fmla="*/ 2075991 w 2292197"/>
                <a:gd name="connsiteY26" fmla="*/ 140593 h 316856"/>
                <a:gd name="connsiteX27" fmla="*/ 2040826 w 2292197"/>
                <a:gd name="connsiteY27" fmla="*/ 176656 h 316856"/>
                <a:gd name="connsiteX28" fmla="*/ 2040826 w 2292197"/>
                <a:gd name="connsiteY28" fmla="*/ 308638 h 316856"/>
                <a:gd name="connsiteX29" fmla="*/ 1982710 w 2292197"/>
                <a:gd name="connsiteY29" fmla="*/ 308638 h 316856"/>
                <a:gd name="connsiteX30" fmla="*/ 1982710 w 2292197"/>
                <a:gd name="connsiteY30" fmla="*/ 133157 h 316856"/>
                <a:gd name="connsiteX31" fmla="*/ 1978638 w 2292197"/>
                <a:gd name="connsiteY31" fmla="*/ 96351 h 316856"/>
                <a:gd name="connsiteX32" fmla="*/ 2025649 w 2292197"/>
                <a:gd name="connsiteY32" fmla="*/ 96351 h 316856"/>
                <a:gd name="connsiteX33" fmla="*/ 2031202 w 2292197"/>
                <a:gd name="connsiteY33" fmla="*/ 126837 h 316856"/>
                <a:gd name="connsiteX34" fmla="*/ 2081174 w 2292197"/>
                <a:gd name="connsiteY34" fmla="*/ 90402 h 316856"/>
                <a:gd name="connsiteX35" fmla="*/ 1866986 w 2292197"/>
                <a:gd name="connsiteY35" fmla="*/ 90402 h 316856"/>
                <a:gd name="connsiteX36" fmla="*/ 1937059 w 2292197"/>
                <a:gd name="connsiteY36" fmla="*/ 152060 h 316856"/>
                <a:gd name="connsiteX37" fmla="*/ 1821141 w 2292197"/>
                <a:gd name="connsiteY37" fmla="*/ 230534 h 316856"/>
                <a:gd name="connsiteX38" fmla="*/ 1869595 w 2292197"/>
                <a:gd name="connsiteY38" fmla="*/ 272013 h 316856"/>
                <a:gd name="connsiteX39" fmla="*/ 1922150 w 2292197"/>
                <a:gd name="connsiteY39" fmla="*/ 254076 h 316856"/>
                <a:gd name="connsiteX40" fmla="*/ 1938923 w 2292197"/>
                <a:gd name="connsiteY40" fmla="*/ 293313 h 316856"/>
                <a:gd name="connsiteX41" fmla="*/ 1862141 w 2292197"/>
                <a:gd name="connsiteY41" fmla="*/ 316855 h 316856"/>
                <a:gd name="connsiteX42" fmla="*/ 1762250 w 2292197"/>
                <a:gd name="connsiteY42" fmla="*/ 208487 h 316856"/>
                <a:gd name="connsiteX43" fmla="*/ 1866986 w 2292197"/>
                <a:gd name="connsiteY43" fmla="*/ 90402 h 316856"/>
                <a:gd name="connsiteX44" fmla="*/ 1663713 w 2292197"/>
                <a:gd name="connsiteY44" fmla="*/ 90402 h 316856"/>
                <a:gd name="connsiteX45" fmla="*/ 1733413 w 2292197"/>
                <a:gd name="connsiteY45" fmla="*/ 152060 h 316856"/>
                <a:gd name="connsiteX46" fmla="*/ 1617868 w 2292197"/>
                <a:gd name="connsiteY46" fmla="*/ 230534 h 316856"/>
                <a:gd name="connsiteX47" fmla="*/ 1666322 w 2292197"/>
                <a:gd name="connsiteY47" fmla="*/ 272013 h 316856"/>
                <a:gd name="connsiteX48" fmla="*/ 1718504 w 2292197"/>
                <a:gd name="connsiteY48" fmla="*/ 254076 h 316856"/>
                <a:gd name="connsiteX49" fmla="*/ 1735650 w 2292197"/>
                <a:gd name="connsiteY49" fmla="*/ 293313 h 316856"/>
                <a:gd name="connsiteX50" fmla="*/ 1658495 w 2292197"/>
                <a:gd name="connsiteY50" fmla="*/ 316855 h 316856"/>
                <a:gd name="connsiteX51" fmla="*/ 1558977 w 2292197"/>
                <a:gd name="connsiteY51" fmla="*/ 208487 h 316856"/>
                <a:gd name="connsiteX52" fmla="*/ 1663713 w 2292197"/>
                <a:gd name="connsiteY52" fmla="*/ 90402 h 316856"/>
                <a:gd name="connsiteX53" fmla="*/ 1457145 w 2292197"/>
                <a:gd name="connsiteY53" fmla="*/ 90402 h 316856"/>
                <a:gd name="connsiteX54" fmla="*/ 1524180 w 2292197"/>
                <a:gd name="connsiteY54" fmla="*/ 164015 h 316856"/>
                <a:gd name="connsiteX55" fmla="*/ 1524180 w 2292197"/>
                <a:gd name="connsiteY55" fmla="*/ 308638 h 316856"/>
                <a:gd name="connsiteX56" fmla="*/ 1465710 w 2292197"/>
                <a:gd name="connsiteY56" fmla="*/ 308638 h 316856"/>
                <a:gd name="connsiteX57" fmla="*/ 1465710 w 2292197"/>
                <a:gd name="connsiteY57" fmla="*/ 174797 h 316856"/>
                <a:gd name="connsiteX58" fmla="*/ 1439641 w 2292197"/>
                <a:gd name="connsiteY58" fmla="*/ 134644 h 316856"/>
                <a:gd name="connsiteX59" fmla="*/ 1403516 w 2292197"/>
                <a:gd name="connsiteY59" fmla="*/ 172566 h 316856"/>
                <a:gd name="connsiteX60" fmla="*/ 1403516 w 2292197"/>
                <a:gd name="connsiteY60" fmla="*/ 308638 h 316856"/>
                <a:gd name="connsiteX61" fmla="*/ 1345047 w 2292197"/>
                <a:gd name="connsiteY61" fmla="*/ 308638 h 316856"/>
                <a:gd name="connsiteX62" fmla="*/ 1345047 w 2292197"/>
                <a:gd name="connsiteY62" fmla="*/ 135760 h 316856"/>
                <a:gd name="connsiteX63" fmla="*/ 1340950 w 2292197"/>
                <a:gd name="connsiteY63" fmla="*/ 96351 h 316856"/>
                <a:gd name="connsiteX64" fmla="*/ 1389737 w 2292197"/>
                <a:gd name="connsiteY64" fmla="*/ 96351 h 316856"/>
                <a:gd name="connsiteX65" fmla="*/ 1393834 w 2292197"/>
                <a:gd name="connsiteY65" fmla="*/ 121632 h 316856"/>
                <a:gd name="connsiteX66" fmla="*/ 1457145 w 2292197"/>
                <a:gd name="connsiteY66" fmla="*/ 90402 h 316856"/>
                <a:gd name="connsiteX67" fmla="*/ 568075 w 2292197"/>
                <a:gd name="connsiteY67" fmla="*/ 90402 h 316856"/>
                <a:gd name="connsiteX68" fmla="*/ 644721 w 2292197"/>
                <a:gd name="connsiteY68" fmla="*/ 105688 h 316856"/>
                <a:gd name="connsiteX69" fmla="*/ 644721 w 2292197"/>
                <a:gd name="connsiteY69" fmla="*/ 266746 h 316856"/>
                <a:gd name="connsiteX70" fmla="*/ 648794 w 2292197"/>
                <a:gd name="connsiteY70" fmla="*/ 309247 h 316856"/>
                <a:gd name="connsiteX71" fmla="*/ 599178 w 2292197"/>
                <a:gd name="connsiteY71" fmla="*/ 309247 h 316856"/>
                <a:gd name="connsiteX72" fmla="*/ 596215 w 2292197"/>
                <a:gd name="connsiteY72" fmla="*/ 287624 h 316856"/>
                <a:gd name="connsiteX73" fmla="*/ 594364 w 2292197"/>
                <a:gd name="connsiteY73" fmla="*/ 287251 h 316856"/>
                <a:gd name="connsiteX74" fmla="*/ 538083 w 2292197"/>
                <a:gd name="connsiteY74" fmla="*/ 315212 h 316856"/>
                <a:gd name="connsiteX75" fmla="*/ 457365 w 2292197"/>
                <a:gd name="connsiteY75" fmla="*/ 212314 h 316856"/>
                <a:gd name="connsiteX76" fmla="*/ 568075 w 2292197"/>
                <a:gd name="connsiteY76" fmla="*/ 90402 h 316856"/>
                <a:gd name="connsiteX77" fmla="*/ 353910 w 2292197"/>
                <a:gd name="connsiteY77" fmla="*/ 90402 h 316856"/>
                <a:gd name="connsiteX78" fmla="*/ 423983 w 2292197"/>
                <a:gd name="connsiteY78" fmla="*/ 152060 h 316856"/>
                <a:gd name="connsiteX79" fmla="*/ 308065 w 2292197"/>
                <a:gd name="connsiteY79" fmla="*/ 230534 h 316856"/>
                <a:gd name="connsiteX80" fmla="*/ 356519 w 2292197"/>
                <a:gd name="connsiteY80" fmla="*/ 272013 h 316856"/>
                <a:gd name="connsiteX81" fmla="*/ 409073 w 2292197"/>
                <a:gd name="connsiteY81" fmla="*/ 254076 h 316856"/>
                <a:gd name="connsiteX82" fmla="*/ 425846 w 2292197"/>
                <a:gd name="connsiteY82" fmla="*/ 293313 h 316856"/>
                <a:gd name="connsiteX83" fmla="*/ 349065 w 2292197"/>
                <a:gd name="connsiteY83" fmla="*/ 316855 h 316856"/>
                <a:gd name="connsiteX84" fmla="*/ 249174 w 2292197"/>
                <a:gd name="connsiteY84" fmla="*/ 208487 h 316856"/>
                <a:gd name="connsiteX85" fmla="*/ 353910 w 2292197"/>
                <a:gd name="connsiteY85" fmla="*/ 90402 h 316856"/>
                <a:gd name="connsiteX86" fmla="*/ 2208041 w 2292197"/>
                <a:gd name="connsiteY86" fmla="*/ 90249 h 316856"/>
                <a:gd name="connsiteX87" fmla="*/ 2277182 w 2292197"/>
                <a:gd name="connsiteY87" fmla="*/ 108139 h 316856"/>
                <a:gd name="connsiteX88" fmla="*/ 2277182 w 2292197"/>
                <a:gd name="connsiteY88" fmla="*/ 108512 h 316856"/>
                <a:gd name="connsiteX89" fmla="*/ 2259711 w 2292197"/>
                <a:gd name="connsiteY89" fmla="*/ 148764 h 316856"/>
                <a:gd name="connsiteX90" fmla="*/ 2213245 w 2292197"/>
                <a:gd name="connsiteY90" fmla="*/ 131620 h 316856"/>
                <a:gd name="connsiteX91" fmla="*/ 2189455 w 2292197"/>
                <a:gd name="connsiteY91" fmla="*/ 152119 h 316856"/>
                <a:gd name="connsiteX92" fmla="*/ 2224025 w 2292197"/>
                <a:gd name="connsiteY92" fmla="*/ 177836 h 316856"/>
                <a:gd name="connsiteX93" fmla="*/ 2292050 w 2292197"/>
                <a:gd name="connsiteY93" fmla="*/ 238960 h 316856"/>
                <a:gd name="connsiteX94" fmla="*/ 2214360 w 2292197"/>
                <a:gd name="connsiteY94" fmla="*/ 314993 h 316856"/>
                <a:gd name="connsiteX95" fmla="*/ 2133325 w 2292197"/>
                <a:gd name="connsiteY95" fmla="*/ 297103 h 316856"/>
                <a:gd name="connsiteX96" fmla="*/ 2150796 w 2292197"/>
                <a:gd name="connsiteY96" fmla="*/ 257223 h 316856"/>
                <a:gd name="connsiteX97" fmla="*/ 2208784 w 2292197"/>
                <a:gd name="connsiteY97" fmla="*/ 272504 h 316856"/>
                <a:gd name="connsiteX98" fmla="*/ 2234433 w 2292197"/>
                <a:gd name="connsiteY98" fmla="*/ 249023 h 316856"/>
                <a:gd name="connsiteX99" fmla="*/ 2199863 w 2292197"/>
                <a:gd name="connsiteY99" fmla="*/ 224424 h 316856"/>
                <a:gd name="connsiteX100" fmla="*/ 2133325 w 2292197"/>
                <a:gd name="connsiteY100" fmla="*/ 162555 h 316856"/>
                <a:gd name="connsiteX101" fmla="*/ 2208041 w 2292197"/>
                <a:gd name="connsiteY101" fmla="*/ 90249 h 316856"/>
                <a:gd name="connsiteX102" fmla="*/ 1004892 w 2292197"/>
                <a:gd name="connsiteY102" fmla="*/ 31230 h 316856"/>
                <a:gd name="connsiteX103" fmla="*/ 1063095 w 2292197"/>
                <a:gd name="connsiteY103" fmla="*/ 31230 h 316856"/>
                <a:gd name="connsiteX104" fmla="*/ 1063095 w 2292197"/>
                <a:gd name="connsiteY104" fmla="*/ 112822 h 316856"/>
                <a:gd name="connsiteX105" fmla="*/ 1115736 w 2292197"/>
                <a:gd name="connsiteY105" fmla="*/ 90841 h 316856"/>
                <a:gd name="connsiteX106" fmla="*/ 1183207 w 2292197"/>
                <a:gd name="connsiteY106" fmla="*/ 165727 h 316856"/>
                <a:gd name="connsiteX107" fmla="*/ 1183207 w 2292197"/>
                <a:gd name="connsiteY107" fmla="*/ 310283 h 316856"/>
                <a:gd name="connsiteX108" fmla="*/ 1125004 w 2292197"/>
                <a:gd name="connsiteY108" fmla="*/ 310283 h 316856"/>
                <a:gd name="connsiteX109" fmla="*/ 1125004 w 2292197"/>
                <a:gd name="connsiteY109" fmla="*/ 174668 h 316856"/>
                <a:gd name="connsiteX110" fmla="*/ 1098313 w 2292197"/>
                <a:gd name="connsiteY110" fmla="*/ 136294 h 316856"/>
                <a:gd name="connsiteX111" fmla="*/ 1062353 w 2292197"/>
                <a:gd name="connsiteY111" fmla="*/ 173178 h 316856"/>
                <a:gd name="connsiteX112" fmla="*/ 1062353 w 2292197"/>
                <a:gd name="connsiteY112" fmla="*/ 310283 h 316856"/>
                <a:gd name="connsiteX113" fmla="*/ 1004892 w 2292197"/>
                <a:gd name="connsiteY113" fmla="*/ 310283 h 316856"/>
                <a:gd name="connsiteX114" fmla="*/ 842391 w 2292197"/>
                <a:gd name="connsiteY114" fmla="*/ 31230 h 316856"/>
                <a:gd name="connsiteX115" fmla="*/ 900136 w 2292197"/>
                <a:gd name="connsiteY115" fmla="*/ 31230 h 316856"/>
                <a:gd name="connsiteX116" fmla="*/ 900136 w 2292197"/>
                <a:gd name="connsiteY116" fmla="*/ 97603 h 316856"/>
                <a:gd name="connsiteX117" fmla="*/ 954920 w 2292197"/>
                <a:gd name="connsiteY117" fmla="*/ 97603 h 316856"/>
                <a:gd name="connsiteX118" fmla="*/ 954920 w 2292197"/>
                <a:gd name="connsiteY118" fmla="*/ 143467 h 316856"/>
                <a:gd name="connsiteX119" fmla="*/ 900877 w 2292197"/>
                <a:gd name="connsiteY119" fmla="*/ 143467 h 316856"/>
                <a:gd name="connsiteX120" fmla="*/ 900877 w 2292197"/>
                <a:gd name="connsiteY120" fmla="*/ 238551 h 316856"/>
                <a:gd name="connsiteX121" fmla="*/ 921236 w 2292197"/>
                <a:gd name="connsiteY121" fmla="*/ 270992 h 316856"/>
                <a:gd name="connsiteX122" fmla="*/ 946407 w 2292197"/>
                <a:gd name="connsiteY122" fmla="*/ 264653 h 316856"/>
                <a:gd name="connsiteX123" fmla="*/ 958622 w 2292197"/>
                <a:gd name="connsiteY123" fmla="*/ 303433 h 316856"/>
                <a:gd name="connsiteX124" fmla="*/ 905689 w 2292197"/>
                <a:gd name="connsiteY124" fmla="*/ 316856 h 316856"/>
                <a:gd name="connsiteX125" fmla="*/ 842391 w 2292197"/>
                <a:gd name="connsiteY125" fmla="*/ 247128 h 316856"/>
                <a:gd name="connsiteX126" fmla="*/ 842391 w 2292197"/>
                <a:gd name="connsiteY126" fmla="*/ 143467 h 316856"/>
                <a:gd name="connsiteX127" fmla="*/ 809816 w 2292197"/>
                <a:gd name="connsiteY127" fmla="*/ 143467 h 316856"/>
                <a:gd name="connsiteX128" fmla="*/ 809816 w 2292197"/>
                <a:gd name="connsiteY128" fmla="*/ 97603 h 316856"/>
                <a:gd name="connsiteX129" fmla="*/ 842391 w 2292197"/>
                <a:gd name="connsiteY129" fmla="*/ 97603 h 316856"/>
                <a:gd name="connsiteX130" fmla="*/ 698343 w 2292197"/>
                <a:gd name="connsiteY130" fmla="*/ 31230 h 316856"/>
                <a:gd name="connsiteX131" fmla="*/ 756722 w 2292197"/>
                <a:gd name="connsiteY131" fmla="*/ 31230 h 316856"/>
                <a:gd name="connsiteX132" fmla="*/ 756722 w 2292197"/>
                <a:gd name="connsiteY132" fmla="*/ 238449 h 316856"/>
                <a:gd name="connsiteX133" fmla="*/ 777045 w 2292197"/>
                <a:gd name="connsiteY133" fmla="*/ 270932 h 316856"/>
                <a:gd name="connsiteX134" fmla="*/ 802170 w 2292197"/>
                <a:gd name="connsiteY134" fmla="*/ 264584 h 316856"/>
                <a:gd name="connsiteX135" fmla="*/ 814364 w 2292197"/>
                <a:gd name="connsiteY135" fmla="*/ 303415 h 316856"/>
                <a:gd name="connsiteX136" fmla="*/ 761895 w 2292197"/>
                <a:gd name="connsiteY136" fmla="*/ 316856 h 316856"/>
                <a:gd name="connsiteX137" fmla="*/ 698343 w 2292197"/>
                <a:gd name="connsiteY137" fmla="*/ 247036 h 316856"/>
                <a:gd name="connsiteX138" fmla="*/ 0 w 2292197"/>
                <a:gd name="connsiteY138" fmla="*/ 31230 h 316856"/>
                <a:gd name="connsiteX139" fmla="*/ 59654 w 2292197"/>
                <a:gd name="connsiteY139" fmla="*/ 31230 h 316856"/>
                <a:gd name="connsiteX140" fmla="*/ 59654 w 2292197"/>
                <a:gd name="connsiteY140" fmla="*/ 142255 h 316856"/>
                <a:gd name="connsiteX141" fmla="*/ 145779 w 2292197"/>
                <a:gd name="connsiteY141" fmla="*/ 142255 h 316856"/>
                <a:gd name="connsiteX142" fmla="*/ 145779 w 2292197"/>
                <a:gd name="connsiteY142" fmla="*/ 31230 h 316856"/>
                <a:gd name="connsiteX143" fmla="*/ 206179 w 2292197"/>
                <a:gd name="connsiteY143" fmla="*/ 31230 h 316856"/>
                <a:gd name="connsiteX144" fmla="*/ 206179 w 2292197"/>
                <a:gd name="connsiteY144" fmla="*/ 310283 h 316856"/>
                <a:gd name="connsiteX145" fmla="*/ 145779 w 2292197"/>
                <a:gd name="connsiteY145" fmla="*/ 310283 h 316856"/>
                <a:gd name="connsiteX146" fmla="*/ 145779 w 2292197"/>
                <a:gd name="connsiteY146" fmla="*/ 194787 h 316856"/>
                <a:gd name="connsiteX147" fmla="*/ 59654 w 2292197"/>
                <a:gd name="connsiteY147" fmla="*/ 194787 h 316856"/>
                <a:gd name="connsiteX148" fmla="*/ 59654 w 2292197"/>
                <a:gd name="connsiteY148" fmla="*/ 310283 h 316856"/>
                <a:gd name="connsiteX149" fmla="*/ 0 w 2292197"/>
                <a:gd name="connsiteY149" fmla="*/ 310283 h 316856"/>
                <a:gd name="connsiteX150" fmla="*/ 1262898 w 2292197"/>
                <a:gd name="connsiteY150" fmla="*/ 0 h 316856"/>
                <a:gd name="connsiteX151" fmla="*/ 1294680 w 2292197"/>
                <a:gd name="connsiteY151" fmla="*/ 30408 h 316856"/>
                <a:gd name="connsiteX152" fmla="*/ 1262898 w 2292197"/>
                <a:gd name="connsiteY152" fmla="*/ 60442 h 316856"/>
                <a:gd name="connsiteX153" fmla="*/ 1231116 w 2292197"/>
                <a:gd name="connsiteY153" fmla="*/ 30408 h 316856"/>
                <a:gd name="connsiteX154" fmla="*/ 1262898 w 2292197"/>
                <a:gd name="connsiteY154" fmla="*/ 0 h 316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2292197" h="316856">
                  <a:moveTo>
                    <a:pt x="561040" y="133276"/>
                  </a:moveTo>
                  <a:cubicBezTo>
                    <a:pt x="526975" y="133276"/>
                    <a:pt x="514756" y="167576"/>
                    <a:pt x="514756" y="208959"/>
                  </a:cubicBezTo>
                  <a:cubicBezTo>
                    <a:pt x="514756" y="242885"/>
                    <a:pt x="522532" y="272711"/>
                    <a:pt x="553264" y="272711"/>
                  </a:cubicBezTo>
                  <a:cubicBezTo>
                    <a:pt x="575110" y="272711"/>
                    <a:pt x="587329" y="256680"/>
                    <a:pt x="587329" y="241394"/>
                  </a:cubicBezTo>
                  <a:lnTo>
                    <a:pt x="587329" y="137750"/>
                  </a:lnTo>
                  <a:cubicBezTo>
                    <a:pt x="581775" y="135140"/>
                    <a:pt x="572148" y="133276"/>
                    <a:pt x="561040" y="133276"/>
                  </a:cubicBezTo>
                  <a:close/>
                  <a:moveTo>
                    <a:pt x="1864005" y="131508"/>
                  </a:moveTo>
                  <a:cubicBezTo>
                    <a:pt x="1835677" y="131508"/>
                    <a:pt x="1820768" y="159908"/>
                    <a:pt x="1819277" y="188681"/>
                  </a:cubicBezTo>
                  <a:cubicBezTo>
                    <a:pt x="1846486" y="187934"/>
                    <a:pt x="1885623" y="181208"/>
                    <a:pt x="1885623" y="152434"/>
                  </a:cubicBezTo>
                  <a:cubicBezTo>
                    <a:pt x="1885623" y="139355"/>
                    <a:pt x="1877795" y="131508"/>
                    <a:pt x="1864005" y="131508"/>
                  </a:cubicBezTo>
                  <a:close/>
                  <a:moveTo>
                    <a:pt x="1660732" y="131508"/>
                  </a:moveTo>
                  <a:cubicBezTo>
                    <a:pt x="1632032" y="131508"/>
                    <a:pt x="1617123" y="159908"/>
                    <a:pt x="1615632" y="188681"/>
                  </a:cubicBezTo>
                  <a:cubicBezTo>
                    <a:pt x="1643213" y="187934"/>
                    <a:pt x="1681977" y="181208"/>
                    <a:pt x="1681977" y="152434"/>
                  </a:cubicBezTo>
                  <a:cubicBezTo>
                    <a:pt x="1681977" y="139355"/>
                    <a:pt x="1673777" y="131508"/>
                    <a:pt x="1660732" y="131508"/>
                  </a:cubicBezTo>
                  <a:close/>
                  <a:moveTo>
                    <a:pt x="351674" y="131508"/>
                  </a:moveTo>
                  <a:cubicBezTo>
                    <a:pt x="322974" y="131508"/>
                    <a:pt x="308065" y="159908"/>
                    <a:pt x="306574" y="188681"/>
                  </a:cubicBezTo>
                  <a:cubicBezTo>
                    <a:pt x="334155" y="187934"/>
                    <a:pt x="372919" y="181208"/>
                    <a:pt x="372919" y="152434"/>
                  </a:cubicBezTo>
                  <a:cubicBezTo>
                    <a:pt x="372919" y="139355"/>
                    <a:pt x="364719" y="131508"/>
                    <a:pt x="351674" y="131508"/>
                  </a:cubicBezTo>
                  <a:close/>
                  <a:moveTo>
                    <a:pt x="1234395" y="96976"/>
                  </a:moveTo>
                  <a:lnTo>
                    <a:pt x="1293037" y="96976"/>
                  </a:lnTo>
                  <a:lnTo>
                    <a:pt x="1293037" y="310280"/>
                  </a:lnTo>
                  <a:lnTo>
                    <a:pt x="1263529" y="310280"/>
                  </a:lnTo>
                  <a:lnTo>
                    <a:pt x="1234395" y="310280"/>
                  </a:lnTo>
                  <a:close/>
                  <a:moveTo>
                    <a:pt x="2081174" y="90402"/>
                  </a:moveTo>
                  <a:cubicBezTo>
                    <a:pt x="2093389" y="90402"/>
                    <a:pt x="2105975" y="92261"/>
                    <a:pt x="2115969" y="97838"/>
                  </a:cubicBezTo>
                  <a:lnTo>
                    <a:pt x="2105604" y="148028"/>
                  </a:lnTo>
                  <a:cubicBezTo>
                    <a:pt x="2096721" y="143567"/>
                    <a:pt x="2086726" y="140593"/>
                    <a:pt x="2075991" y="140593"/>
                  </a:cubicBezTo>
                  <a:cubicBezTo>
                    <a:pt x="2054892" y="140593"/>
                    <a:pt x="2041566" y="154720"/>
                    <a:pt x="2040826" y="176656"/>
                  </a:cubicBezTo>
                  <a:lnTo>
                    <a:pt x="2040826" y="308638"/>
                  </a:lnTo>
                  <a:lnTo>
                    <a:pt x="1982710" y="308638"/>
                  </a:lnTo>
                  <a:lnTo>
                    <a:pt x="1982710" y="133157"/>
                  </a:lnTo>
                  <a:lnTo>
                    <a:pt x="1978638" y="96351"/>
                  </a:lnTo>
                  <a:lnTo>
                    <a:pt x="2025649" y="96351"/>
                  </a:lnTo>
                  <a:lnTo>
                    <a:pt x="2031202" y="126837"/>
                  </a:lnTo>
                  <a:cubicBezTo>
                    <a:pt x="2041196" y="102299"/>
                    <a:pt x="2061555" y="90402"/>
                    <a:pt x="2081174" y="90402"/>
                  </a:cubicBezTo>
                  <a:close/>
                  <a:moveTo>
                    <a:pt x="1866986" y="90402"/>
                  </a:moveTo>
                  <a:cubicBezTo>
                    <a:pt x="1909477" y="90402"/>
                    <a:pt x="1937059" y="111702"/>
                    <a:pt x="1937059" y="152060"/>
                  </a:cubicBezTo>
                  <a:cubicBezTo>
                    <a:pt x="1937059" y="215213"/>
                    <a:pt x="1872577" y="227545"/>
                    <a:pt x="1821141" y="230534"/>
                  </a:cubicBezTo>
                  <a:cubicBezTo>
                    <a:pt x="1824123" y="250713"/>
                    <a:pt x="1837541" y="272013"/>
                    <a:pt x="1869595" y="272013"/>
                  </a:cubicBezTo>
                  <a:cubicBezTo>
                    <a:pt x="1891959" y="272013"/>
                    <a:pt x="1910223" y="262297"/>
                    <a:pt x="1922150" y="254076"/>
                  </a:cubicBezTo>
                  <a:lnTo>
                    <a:pt x="1938923" y="293313"/>
                  </a:lnTo>
                  <a:cubicBezTo>
                    <a:pt x="1934077" y="297050"/>
                    <a:pt x="1904632" y="316855"/>
                    <a:pt x="1862141" y="316855"/>
                  </a:cubicBezTo>
                  <a:cubicBezTo>
                    <a:pt x="1790577" y="316855"/>
                    <a:pt x="1762250" y="271640"/>
                    <a:pt x="1762250" y="208487"/>
                  </a:cubicBezTo>
                  <a:cubicBezTo>
                    <a:pt x="1762250" y="146829"/>
                    <a:pt x="1798405" y="90402"/>
                    <a:pt x="1866986" y="90402"/>
                  </a:cubicBezTo>
                  <a:close/>
                  <a:moveTo>
                    <a:pt x="1663713" y="90402"/>
                  </a:moveTo>
                  <a:cubicBezTo>
                    <a:pt x="1706204" y="90402"/>
                    <a:pt x="1733413" y="111702"/>
                    <a:pt x="1733413" y="152060"/>
                  </a:cubicBezTo>
                  <a:cubicBezTo>
                    <a:pt x="1733413" y="215213"/>
                    <a:pt x="1669304" y="227545"/>
                    <a:pt x="1617868" y="230534"/>
                  </a:cubicBezTo>
                  <a:cubicBezTo>
                    <a:pt x="1620850" y="250713"/>
                    <a:pt x="1634268" y="272013"/>
                    <a:pt x="1666322" y="272013"/>
                  </a:cubicBezTo>
                  <a:cubicBezTo>
                    <a:pt x="1688686" y="272013"/>
                    <a:pt x="1706577" y="262297"/>
                    <a:pt x="1718504" y="254076"/>
                  </a:cubicBezTo>
                  <a:lnTo>
                    <a:pt x="1735650" y="293313"/>
                  </a:lnTo>
                  <a:cubicBezTo>
                    <a:pt x="1730431" y="297050"/>
                    <a:pt x="1700986" y="316855"/>
                    <a:pt x="1658495" y="316855"/>
                  </a:cubicBezTo>
                  <a:cubicBezTo>
                    <a:pt x="1587304" y="316855"/>
                    <a:pt x="1558977" y="271640"/>
                    <a:pt x="1558977" y="208487"/>
                  </a:cubicBezTo>
                  <a:cubicBezTo>
                    <a:pt x="1558977" y="146829"/>
                    <a:pt x="1594759" y="90402"/>
                    <a:pt x="1663713" y="90402"/>
                  </a:cubicBezTo>
                  <a:close/>
                  <a:moveTo>
                    <a:pt x="1457145" y="90402"/>
                  </a:moveTo>
                  <a:cubicBezTo>
                    <a:pt x="1498483" y="90402"/>
                    <a:pt x="1524180" y="113824"/>
                    <a:pt x="1524180" y="164015"/>
                  </a:cubicBezTo>
                  <a:lnTo>
                    <a:pt x="1524180" y="308638"/>
                  </a:lnTo>
                  <a:lnTo>
                    <a:pt x="1465710" y="308638"/>
                  </a:lnTo>
                  <a:lnTo>
                    <a:pt x="1465710" y="174797"/>
                  </a:lnTo>
                  <a:cubicBezTo>
                    <a:pt x="1465710" y="152118"/>
                    <a:pt x="1462358" y="134644"/>
                    <a:pt x="1439641" y="134644"/>
                  </a:cubicBezTo>
                  <a:cubicBezTo>
                    <a:pt x="1417668" y="134644"/>
                    <a:pt x="1403516" y="152490"/>
                    <a:pt x="1403516" y="172566"/>
                  </a:cubicBezTo>
                  <a:lnTo>
                    <a:pt x="1403516" y="308638"/>
                  </a:lnTo>
                  <a:lnTo>
                    <a:pt x="1345047" y="308638"/>
                  </a:lnTo>
                  <a:lnTo>
                    <a:pt x="1345047" y="135760"/>
                  </a:lnTo>
                  <a:lnTo>
                    <a:pt x="1340950" y="96351"/>
                  </a:lnTo>
                  <a:lnTo>
                    <a:pt x="1389737" y="96351"/>
                  </a:lnTo>
                  <a:lnTo>
                    <a:pt x="1393834" y="121632"/>
                  </a:lnTo>
                  <a:cubicBezTo>
                    <a:pt x="1407985" y="102299"/>
                    <a:pt x="1429213" y="90402"/>
                    <a:pt x="1457145" y="90402"/>
                  </a:cubicBezTo>
                  <a:close/>
                  <a:moveTo>
                    <a:pt x="568075" y="90402"/>
                  </a:moveTo>
                  <a:cubicBezTo>
                    <a:pt x="582516" y="90402"/>
                    <a:pt x="613248" y="93758"/>
                    <a:pt x="644721" y="105688"/>
                  </a:cubicBezTo>
                  <a:lnTo>
                    <a:pt x="644721" y="266746"/>
                  </a:lnTo>
                  <a:lnTo>
                    <a:pt x="648794" y="309247"/>
                  </a:lnTo>
                  <a:lnTo>
                    <a:pt x="599178" y="309247"/>
                  </a:lnTo>
                  <a:lnTo>
                    <a:pt x="596215" y="287624"/>
                  </a:lnTo>
                  <a:lnTo>
                    <a:pt x="594364" y="287251"/>
                  </a:lnTo>
                  <a:cubicBezTo>
                    <a:pt x="581775" y="306637"/>
                    <a:pt x="560670" y="315212"/>
                    <a:pt x="538083" y="315212"/>
                  </a:cubicBezTo>
                  <a:cubicBezTo>
                    <a:pt x="477730" y="315212"/>
                    <a:pt x="457365" y="269356"/>
                    <a:pt x="457365" y="212314"/>
                  </a:cubicBezTo>
                  <a:cubicBezTo>
                    <a:pt x="457365" y="138869"/>
                    <a:pt x="494021" y="90402"/>
                    <a:pt x="568075" y="90402"/>
                  </a:cubicBezTo>
                  <a:close/>
                  <a:moveTo>
                    <a:pt x="353910" y="90402"/>
                  </a:moveTo>
                  <a:cubicBezTo>
                    <a:pt x="396401" y="90402"/>
                    <a:pt x="423983" y="111702"/>
                    <a:pt x="423983" y="152060"/>
                  </a:cubicBezTo>
                  <a:cubicBezTo>
                    <a:pt x="423983" y="215213"/>
                    <a:pt x="360246" y="227545"/>
                    <a:pt x="308065" y="230534"/>
                  </a:cubicBezTo>
                  <a:cubicBezTo>
                    <a:pt x="311046" y="250713"/>
                    <a:pt x="324465" y="272013"/>
                    <a:pt x="356519" y="272013"/>
                  </a:cubicBezTo>
                  <a:cubicBezTo>
                    <a:pt x="378883" y="272013"/>
                    <a:pt x="397146" y="262297"/>
                    <a:pt x="409073" y="254076"/>
                  </a:cubicBezTo>
                  <a:lnTo>
                    <a:pt x="425846" y="293313"/>
                  </a:lnTo>
                  <a:cubicBezTo>
                    <a:pt x="421001" y="297050"/>
                    <a:pt x="391555" y="316855"/>
                    <a:pt x="349065" y="316855"/>
                  </a:cubicBezTo>
                  <a:cubicBezTo>
                    <a:pt x="277501" y="316855"/>
                    <a:pt x="249174" y="271640"/>
                    <a:pt x="249174" y="208487"/>
                  </a:cubicBezTo>
                  <a:cubicBezTo>
                    <a:pt x="249174" y="146829"/>
                    <a:pt x="285328" y="90402"/>
                    <a:pt x="353910" y="90402"/>
                  </a:cubicBezTo>
                  <a:close/>
                  <a:moveTo>
                    <a:pt x="2208041" y="90249"/>
                  </a:moveTo>
                  <a:cubicBezTo>
                    <a:pt x="2234433" y="88758"/>
                    <a:pt x="2258595" y="96212"/>
                    <a:pt x="2277182" y="108139"/>
                  </a:cubicBezTo>
                  <a:lnTo>
                    <a:pt x="2277182" y="108512"/>
                  </a:lnTo>
                  <a:lnTo>
                    <a:pt x="2259711" y="148764"/>
                  </a:lnTo>
                  <a:cubicBezTo>
                    <a:pt x="2243355" y="137210"/>
                    <a:pt x="2227742" y="131247"/>
                    <a:pt x="2213245" y="131620"/>
                  </a:cubicBezTo>
                  <a:cubicBezTo>
                    <a:pt x="2199863" y="131992"/>
                    <a:pt x="2189083" y="137956"/>
                    <a:pt x="2189455" y="152119"/>
                  </a:cubicBezTo>
                  <a:cubicBezTo>
                    <a:pt x="2190570" y="168518"/>
                    <a:pt x="2205067" y="172618"/>
                    <a:pt x="2224025" y="177836"/>
                  </a:cubicBezTo>
                  <a:cubicBezTo>
                    <a:pt x="2254878" y="185663"/>
                    <a:pt x="2289448" y="194980"/>
                    <a:pt x="2292050" y="238960"/>
                  </a:cubicBezTo>
                  <a:cubicBezTo>
                    <a:pt x="2294653" y="287040"/>
                    <a:pt x="2262684" y="312384"/>
                    <a:pt x="2214360" y="314993"/>
                  </a:cubicBezTo>
                  <a:cubicBezTo>
                    <a:pt x="2177188" y="316856"/>
                    <a:pt x="2145591" y="304930"/>
                    <a:pt x="2133325" y="297103"/>
                  </a:cubicBezTo>
                  <a:lnTo>
                    <a:pt x="2150796" y="257223"/>
                  </a:lnTo>
                  <a:cubicBezTo>
                    <a:pt x="2166036" y="265050"/>
                    <a:pt x="2189827" y="273622"/>
                    <a:pt x="2208784" y="272504"/>
                  </a:cubicBezTo>
                  <a:cubicBezTo>
                    <a:pt x="2224397" y="272131"/>
                    <a:pt x="2235177" y="265050"/>
                    <a:pt x="2234433" y="249023"/>
                  </a:cubicBezTo>
                  <a:cubicBezTo>
                    <a:pt x="2233318" y="232624"/>
                    <a:pt x="2218449" y="229270"/>
                    <a:pt x="2199863" y="224424"/>
                  </a:cubicBezTo>
                  <a:cubicBezTo>
                    <a:pt x="2167895" y="216970"/>
                    <a:pt x="2135927" y="206534"/>
                    <a:pt x="2133325" y="162555"/>
                  </a:cubicBezTo>
                  <a:cubicBezTo>
                    <a:pt x="2131094" y="118202"/>
                    <a:pt x="2164549" y="92858"/>
                    <a:pt x="2208041" y="90249"/>
                  </a:cubicBezTo>
                  <a:close/>
                  <a:moveTo>
                    <a:pt x="1004892" y="31230"/>
                  </a:moveTo>
                  <a:lnTo>
                    <a:pt x="1063095" y="31230"/>
                  </a:lnTo>
                  <a:lnTo>
                    <a:pt x="1063095" y="112822"/>
                  </a:lnTo>
                  <a:cubicBezTo>
                    <a:pt x="1076440" y="98665"/>
                    <a:pt x="1095347" y="90841"/>
                    <a:pt x="1115736" y="90841"/>
                  </a:cubicBezTo>
                  <a:cubicBezTo>
                    <a:pt x="1159481" y="90841"/>
                    <a:pt x="1183207" y="115803"/>
                    <a:pt x="1183207" y="165727"/>
                  </a:cubicBezTo>
                  <a:lnTo>
                    <a:pt x="1183207" y="310283"/>
                  </a:lnTo>
                  <a:lnTo>
                    <a:pt x="1125004" y="310283"/>
                  </a:lnTo>
                  <a:lnTo>
                    <a:pt x="1125004" y="174668"/>
                  </a:lnTo>
                  <a:cubicBezTo>
                    <a:pt x="1125004" y="153432"/>
                    <a:pt x="1120556" y="136294"/>
                    <a:pt x="1098313" y="136294"/>
                  </a:cubicBezTo>
                  <a:cubicBezTo>
                    <a:pt x="1076811" y="136294"/>
                    <a:pt x="1062353" y="153432"/>
                    <a:pt x="1062353" y="173178"/>
                  </a:cubicBezTo>
                  <a:lnTo>
                    <a:pt x="1062353" y="310283"/>
                  </a:lnTo>
                  <a:lnTo>
                    <a:pt x="1004892" y="310283"/>
                  </a:lnTo>
                  <a:close/>
                  <a:moveTo>
                    <a:pt x="842391" y="31230"/>
                  </a:moveTo>
                  <a:lnTo>
                    <a:pt x="900136" y="31230"/>
                  </a:lnTo>
                  <a:lnTo>
                    <a:pt x="900136" y="97603"/>
                  </a:lnTo>
                  <a:lnTo>
                    <a:pt x="954920" y="97603"/>
                  </a:lnTo>
                  <a:lnTo>
                    <a:pt x="954920" y="143467"/>
                  </a:lnTo>
                  <a:lnTo>
                    <a:pt x="900877" y="143467"/>
                  </a:lnTo>
                  <a:lnTo>
                    <a:pt x="900877" y="238551"/>
                  </a:lnTo>
                  <a:cubicBezTo>
                    <a:pt x="900877" y="261670"/>
                    <a:pt x="905689" y="270992"/>
                    <a:pt x="921236" y="270992"/>
                  </a:cubicBezTo>
                  <a:cubicBezTo>
                    <a:pt x="928639" y="270992"/>
                    <a:pt x="936782" y="268382"/>
                    <a:pt x="946407" y="264653"/>
                  </a:cubicBezTo>
                  <a:lnTo>
                    <a:pt x="958622" y="303433"/>
                  </a:lnTo>
                  <a:cubicBezTo>
                    <a:pt x="946407" y="311636"/>
                    <a:pt x="924197" y="316856"/>
                    <a:pt x="905689" y="316856"/>
                  </a:cubicBezTo>
                  <a:cubicBezTo>
                    <a:pt x="845722" y="316856"/>
                    <a:pt x="842391" y="282551"/>
                    <a:pt x="842391" y="247128"/>
                  </a:cubicBezTo>
                  <a:lnTo>
                    <a:pt x="842391" y="143467"/>
                  </a:lnTo>
                  <a:lnTo>
                    <a:pt x="809816" y="143467"/>
                  </a:lnTo>
                  <a:lnTo>
                    <a:pt x="809816" y="97603"/>
                  </a:lnTo>
                  <a:lnTo>
                    <a:pt x="842391" y="97603"/>
                  </a:lnTo>
                  <a:close/>
                  <a:moveTo>
                    <a:pt x="698343" y="31230"/>
                  </a:moveTo>
                  <a:lnTo>
                    <a:pt x="756722" y="31230"/>
                  </a:lnTo>
                  <a:lnTo>
                    <a:pt x="756722" y="238449"/>
                  </a:lnTo>
                  <a:cubicBezTo>
                    <a:pt x="756722" y="261597"/>
                    <a:pt x="761895" y="270932"/>
                    <a:pt x="777045" y="270932"/>
                  </a:cubicBezTo>
                  <a:cubicBezTo>
                    <a:pt x="784434" y="270932"/>
                    <a:pt x="792563" y="268318"/>
                    <a:pt x="802170" y="264584"/>
                  </a:cubicBezTo>
                  <a:lnTo>
                    <a:pt x="814364" y="303415"/>
                  </a:lnTo>
                  <a:cubicBezTo>
                    <a:pt x="802170" y="311629"/>
                    <a:pt x="780000" y="316856"/>
                    <a:pt x="761895" y="316856"/>
                  </a:cubicBezTo>
                  <a:cubicBezTo>
                    <a:pt x="702038" y="316856"/>
                    <a:pt x="698343" y="282506"/>
                    <a:pt x="698343" y="247036"/>
                  </a:cubicBezTo>
                  <a:close/>
                  <a:moveTo>
                    <a:pt x="0" y="31230"/>
                  </a:moveTo>
                  <a:lnTo>
                    <a:pt x="59654" y="31230"/>
                  </a:lnTo>
                  <a:lnTo>
                    <a:pt x="59654" y="142255"/>
                  </a:lnTo>
                  <a:lnTo>
                    <a:pt x="145779" y="142255"/>
                  </a:lnTo>
                  <a:lnTo>
                    <a:pt x="145779" y="31230"/>
                  </a:lnTo>
                  <a:lnTo>
                    <a:pt x="206179" y="31230"/>
                  </a:lnTo>
                  <a:lnTo>
                    <a:pt x="206179" y="310283"/>
                  </a:lnTo>
                  <a:lnTo>
                    <a:pt x="145779" y="310283"/>
                  </a:lnTo>
                  <a:lnTo>
                    <a:pt x="145779" y="194787"/>
                  </a:lnTo>
                  <a:lnTo>
                    <a:pt x="59654" y="194787"/>
                  </a:lnTo>
                  <a:lnTo>
                    <a:pt x="59654" y="310283"/>
                  </a:lnTo>
                  <a:lnTo>
                    <a:pt x="0" y="310283"/>
                  </a:lnTo>
                  <a:close/>
                  <a:moveTo>
                    <a:pt x="1262898" y="0"/>
                  </a:moveTo>
                  <a:cubicBezTo>
                    <a:pt x="1281745" y="0"/>
                    <a:pt x="1294680" y="13890"/>
                    <a:pt x="1294680" y="30408"/>
                  </a:cubicBezTo>
                  <a:cubicBezTo>
                    <a:pt x="1294680" y="48053"/>
                    <a:pt x="1281745" y="60442"/>
                    <a:pt x="1262898" y="60442"/>
                  </a:cubicBezTo>
                  <a:cubicBezTo>
                    <a:pt x="1243681" y="60442"/>
                    <a:pt x="1231116" y="48053"/>
                    <a:pt x="1231116" y="30408"/>
                  </a:cubicBezTo>
                  <a:cubicBezTo>
                    <a:pt x="1231116" y="13890"/>
                    <a:pt x="1244051" y="0"/>
                    <a:pt x="1262898" y="0"/>
                  </a:cubicBezTo>
                  <a:close/>
                </a:path>
              </a:pathLst>
            </a:custGeom>
            <a:solidFill>
              <a:srgbClr val="EC6602"/>
            </a:solidFill>
            <a:ln w="9525" cap="flat">
              <a:noFill/>
              <a:bevel/>
              <a:headEnd/>
              <a:tailEnd/>
            </a:ln>
            <a:effectLst/>
          </p:spPr>
          <p:txBody>
            <a:bodyPr wrap="square" anchor="ctr">
              <a:prstTxWarp prst="textNoShape">
                <a:avLst/>
              </a:prstTxWarp>
              <a:noAutofit/>
            </a:bodyPr>
            <a:lstStyle/>
            <a:p>
              <a:pPr marL="0" marR="0" lvl="0" indent="0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"/>
                <a:cs typeface="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482601" y="216377"/>
            <a:ext cx="9144000" cy="49244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troduction/Table of contents</a:t>
            </a:r>
            <a:r>
              <a:rPr lang="en-US" noProof="0" dirty="0"/>
              <a:t>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550037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/Table of content White,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02641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0737" y="757121"/>
            <a:ext cx="5597523" cy="5567437"/>
          </a:xfrm>
          <a:prstGeom prst="rect">
            <a:avLst/>
          </a:prstGeom>
        </p:spPr>
      </p:pic>
      <p:sp>
        <p:nvSpPr>
          <p:cNvPr id="219" name="Textplatzhalter 6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82600" y="1629093"/>
            <a:ext cx="5651500" cy="851515"/>
          </a:xfrm>
        </p:spPr>
        <p:txBody>
          <a:bodyPr>
            <a:spAutoFit/>
          </a:bodyPr>
          <a:lstStyle>
            <a:lvl1pPr marL="266700" indent="-266700"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5646738" algn="r"/>
              </a:tabLst>
              <a:defRPr b="0">
                <a:solidFill>
                  <a:schemeClr val="tx1"/>
                </a:solidFill>
              </a:defRPr>
            </a:lvl1pPr>
            <a:lvl3pPr>
              <a:tabLst>
                <a:tab pos="5646738" algn="r"/>
              </a:tabLst>
              <a:defRPr baseline="0"/>
            </a:lvl3pPr>
          </a:lstStyle>
          <a:p>
            <a:pPr lvl="0"/>
            <a:r>
              <a:rPr lang="en-US" dirty="0"/>
              <a:t>Click to add chapter title, [Tab] 	page #</a:t>
            </a:r>
          </a:p>
          <a:p>
            <a:pPr lvl="2"/>
            <a:r>
              <a:rPr lang="en-US" dirty="0"/>
              <a:t>Second level</a:t>
            </a: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1" y="796"/>
            <a:ext cx="12198350" cy="1624807"/>
            <a:chOff x="1" y="796"/>
            <a:chExt cx="12198350" cy="1624807"/>
          </a:xfrm>
        </p:grpSpPr>
        <p:sp>
          <p:nvSpPr>
            <p:cNvPr id="218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7" name="Freeform 11"/>
            <p:cNvSpPr>
              <a:spLocks/>
            </p:cNvSpPr>
            <p:nvPr userDrawn="1"/>
          </p:nvSpPr>
          <p:spPr bwMode="gray">
            <a:xfrm>
              <a:off x="1" y="1151075"/>
              <a:ext cx="12198350" cy="474528"/>
            </a:xfrm>
            <a:custGeom>
              <a:avLst/>
              <a:gdLst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4" fmla="*/ 93792 w 12207175"/>
                <a:gd name="connsiteY4" fmla="*/ 93820 h 1624807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2352 w 12207175"/>
                <a:gd name="connsiteY0" fmla="*/ 4126 h 1626553"/>
                <a:gd name="connsiteX1" fmla="*/ 31685 w 12207175"/>
                <a:gd name="connsiteY1" fmla="*/ 0 h 1626553"/>
                <a:gd name="connsiteX2" fmla="*/ 12207175 w 12207175"/>
                <a:gd name="connsiteY2" fmla="*/ 1746 h 1626553"/>
                <a:gd name="connsiteX3" fmla="*/ 12207175 w 12207175"/>
                <a:gd name="connsiteY3" fmla="*/ 1152025 h 1626553"/>
                <a:gd name="connsiteX4" fmla="*/ 0 w 12207175"/>
                <a:gd name="connsiteY4" fmla="*/ 1626553 h 1626553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12207175 w 12207175"/>
                <a:gd name="connsiteY0" fmla="*/ 0 h 1624807"/>
                <a:gd name="connsiteX1" fmla="*/ 12207175 w 12207175"/>
                <a:gd name="connsiteY1" fmla="*/ 1150279 h 1624807"/>
                <a:gd name="connsiteX2" fmla="*/ 0 w 12207175"/>
                <a:gd name="connsiteY2" fmla="*/ 1624807 h 1624807"/>
                <a:gd name="connsiteX0" fmla="*/ 12207175 w 12207175"/>
                <a:gd name="connsiteY0" fmla="*/ 0 h 474528"/>
                <a:gd name="connsiteX1" fmla="*/ 0 w 12207175"/>
                <a:gd name="connsiteY1" fmla="*/ 474528 h 47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07175" h="474528">
                  <a:moveTo>
                    <a:pt x="12207175" y="0"/>
                  </a:moveTo>
                  <a:cubicBezTo>
                    <a:pt x="9794392" y="10920"/>
                    <a:pt x="4154653" y="95989"/>
                    <a:pt x="0" y="474528"/>
                  </a:cubicBezTo>
                </a:path>
              </a:pathLst>
            </a:custGeom>
            <a:noFill/>
            <a:ln w="9525">
              <a:solidFill>
                <a:srgbClr val="F9B59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495" name="Gruppierung 140"/>
          <p:cNvGrpSpPr>
            <a:grpSpLocks noChangeAspect="1"/>
          </p:cNvGrpSpPr>
          <p:nvPr userDrawn="1"/>
        </p:nvGrpSpPr>
        <p:grpSpPr>
          <a:xfrm>
            <a:off x="10291931" y="341313"/>
            <a:ext cx="1638132" cy="385201"/>
            <a:chOff x="6613648" y="2453653"/>
            <a:chExt cx="2815390" cy="662028"/>
          </a:xfrm>
        </p:grpSpPr>
        <p:sp>
          <p:nvSpPr>
            <p:cNvPr id="496" name="Freihandform 495"/>
            <p:cNvSpPr>
              <a:spLocks noChangeAspect="1" noChangeArrowheads="1"/>
            </p:cNvSpPr>
            <p:nvPr/>
          </p:nvSpPr>
          <p:spPr bwMode="auto">
            <a:xfrm>
              <a:off x="8944950" y="2560629"/>
              <a:ext cx="484088" cy="476289"/>
            </a:xfrm>
            <a:custGeom>
              <a:avLst/>
              <a:gdLst>
                <a:gd name="connsiteX0" fmla="*/ 224003 w 484088"/>
                <a:gd name="connsiteY0" fmla="*/ 410646 h 476290"/>
                <a:gd name="connsiteX1" fmla="*/ 247187 w 484088"/>
                <a:gd name="connsiteY1" fmla="*/ 420103 h 476290"/>
                <a:gd name="connsiteX2" fmla="*/ 247187 w 484088"/>
                <a:gd name="connsiteY2" fmla="*/ 466833 h 476290"/>
                <a:gd name="connsiteX3" fmla="*/ 200818 w 484088"/>
                <a:gd name="connsiteY3" fmla="*/ 466833 h 476290"/>
                <a:gd name="connsiteX4" fmla="*/ 200818 w 484088"/>
                <a:gd name="connsiteY4" fmla="*/ 420103 h 476290"/>
                <a:gd name="connsiteX5" fmla="*/ 224003 w 484088"/>
                <a:gd name="connsiteY5" fmla="*/ 410646 h 476290"/>
                <a:gd name="connsiteX6" fmla="*/ 121049 w 484088"/>
                <a:gd name="connsiteY6" fmla="*/ 316301 h 476290"/>
                <a:gd name="connsiteX7" fmla="*/ 138696 w 484088"/>
                <a:gd name="connsiteY7" fmla="*/ 323796 h 476290"/>
                <a:gd name="connsiteX8" fmla="*/ 138696 w 484088"/>
                <a:gd name="connsiteY8" fmla="*/ 359325 h 476290"/>
                <a:gd name="connsiteX9" fmla="*/ 103128 w 484088"/>
                <a:gd name="connsiteY9" fmla="*/ 359325 h 476290"/>
                <a:gd name="connsiteX10" fmla="*/ 103128 w 484088"/>
                <a:gd name="connsiteY10" fmla="*/ 323796 h 476290"/>
                <a:gd name="connsiteX11" fmla="*/ 121049 w 484088"/>
                <a:gd name="connsiteY11" fmla="*/ 316301 h 476290"/>
                <a:gd name="connsiteX12" fmla="*/ 325449 w 484088"/>
                <a:gd name="connsiteY12" fmla="*/ 298284 h 476290"/>
                <a:gd name="connsiteX13" fmla="*/ 356024 w 484088"/>
                <a:gd name="connsiteY13" fmla="*/ 310902 h 476290"/>
                <a:gd name="connsiteX14" fmla="*/ 356024 w 484088"/>
                <a:gd name="connsiteY14" fmla="*/ 372214 h 476290"/>
                <a:gd name="connsiteX15" fmla="*/ 294874 w 484088"/>
                <a:gd name="connsiteY15" fmla="*/ 372214 h 476290"/>
                <a:gd name="connsiteX16" fmla="*/ 294874 w 484088"/>
                <a:gd name="connsiteY16" fmla="*/ 310902 h 476290"/>
                <a:gd name="connsiteX17" fmla="*/ 325449 w 484088"/>
                <a:gd name="connsiteY17" fmla="*/ 298284 h 476290"/>
                <a:gd name="connsiteX18" fmla="*/ 19273 w 484088"/>
                <a:gd name="connsiteY18" fmla="*/ 218685 h 476290"/>
                <a:gd name="connsiteX19" fmla="*/ 32986 w 484088"/>
                <a:gd name="connsiteY19" fmla="*/ 224259 h 476290"/>
                <a:gd name="connsiteX20" fmla="*/ 32986 w 484088"/>
                <a:gd name="connsiteY20" fmla="*/ 251759 h 476290"/>
                <a:gd name="connsiteX21" fmla="*/ 5560 w 484088"/>
                <a:gd name="connsiteY21" fmla="*/ 251759 h 476290"/>
                <a:gd name="connsiteX22" fmla="*/ 5560 w 484088"/>
                <a:gd name="connsiteY22" fmla="*/ 224259 h 476290"/>
                <a:gd name="connsiteX23" fmla="*/ 19273 w 484088"/>
                <a:gd name="connsiteY23" fmla="*/ 218685 h 476290"/>
                <a:gd name="connsiteX24" fmla="*/ 224003 w 484088"/>
                <a:gd name="connsiteY24" fmla="*/ 205318 h 476290"/>
                <a:gd name="connsiteX25" fmla="*/ 247187 w 484088"/>
                <a:gd name="connsiteY25" fmla="*/ 215174 h 476290"/>
                <a:gd name="connsiteX26" fmla="*/ 247187 w 484088"/>
                <a:gd name="connsiteY26" fmla="*/ 262482 h 476290"/>
                <a:gd name="connsiteX27" fmla="*/ 200818 w 484088"/>
                <a:gd name="connsiteY27" fmla="*/ 262482 h 476290"/>
                <a:gd name="connsiteX28" fmla="*/ 200818 w 484088"/>
                <a:gd name="connsiteY28" fmla="*/ 215174 h 476290"/>
                <a:gd name="connsiteX29" fmla="*/ 224003 w 484088"/>
                <a:gd name="connsiteY29" fmla="*/ 205318 h 476290"/>
                <a:gd name="connsiteX30" fmla="*/ 428279 w 484088"/>
                <a:gd name="connsiteY30" fmla="*/ 182871 h 476290"/>
                <a:gd name="connsiteX31" fmla="*/ 467652 w 484088"/>
                <a:gd name="connsiteY31" fmla="*/ 199351 h 476290"/>
                <a:gd name="connsiteX32" fmla="*/ 467652 w 484088"/>
                <a:gd name="connsiteY32" fmla="*/ 278307 h 476290"/>
                <a:gd name="connsiteX33" fmla="*/ 388906 w 484088"/>
                <a:gd name="connsiteY33" fmla="*/ 278307 h 476290"/>
                <a:gd name="connsiteX34" fmla="*/ 388906 w 484088"/>
                <a:gd name="connsiteY34" fmla="*/ 199351 h 476290"/>
                <a:gd name="connsiteX35" fmla="*/ 428279 w 484088"/>
                <a:gd name="connsiteY35" fmla="*/ 182871 h 476290"/>
                <a:gd name="connsiteX36" fmla="*/ 121049 w 484088"/>
                <a:gd name="connsiteY36" fmla="*/ 110842 h 476290"/>
                <a:gd name="connsiteX37" fmla="*/ 138696 w 484088"/>
                <a:gd name="connsiteY37" fmla="*/ 118337 h 476290"/>
                <a:gd name="connsiteX38" fmla="*/ 138696 w 484088"/>
                <a:gd name="connsiteY38" fmla="*/ 154236 h 476290"/>
                <a:gd name="connsiteX39" fmla="*/ 103128 w 484088"/>
                <a:gd name="connsiteY39" fmla="*/ 154236 h 476290"/>
                <a:gd name="connsiteX40" fmla="*/ 103128 w 484088"/>
                <a:gd name="connsiteY40" fmla="*/ 118337 h 476290"/>
                <a:gd name="connsiteX41" fmla="*/ 121049 w 484088"/>
                <a:gd name="connsiteY41" fmla="*/ 110842 h 476290"/>
                <a:gd name="connsiteX42" fmla="*/ 325683 w 484088"/>
                <a:gd name="connsiteY42" fmla="*/ 92919 h 476290"/>
                <a:gd name="connsiteX43" fmla="*/ 356092 w 484088"/>
                <a:gd name="connsiteY43" fmla="*/ 105817 h 476290"/>
                <a:gd name="connsiteX44" fmla="*/ 356092 w 484088"/>
                <a:gd name="connsiteY44" fmla="*/ 166756 h 476290"/>
                <a:gd name="connsiteX45" fmla="*/ 295553 w 484088"/>
                <a:gd name="connsiteY45" fmla="*/ 166756 h 476290"/>
                <a:gd name="connsiteX46" fmla="*/ 295553 w 484088"/>
                <a:gd name="connsiteY46" fmla="*/ 105817 h 476290"/>
                <a:gd name="connsiteX47" fmla="*/ 325683 w 484088"/>
                <a:gd name="connsiteY47" fmla="*/ 92919 h 476290"/>
                <a:gd name="connsiteX48" fmla="*/ 224003 w 484088"/>
                <a:gd name="connsiteY48" fmla="*/ 0 h 476290"/>
                <a:gd name="connsiteX49" fmla="*/ 247187 w 484088"/>
                <a:gd name="connsiteY49" fmla="*/ 9715 h 476290"/>
                <a:gd name="connsiteX50" fmla="*/ 247187 w 484088"/>
                <a:gd name="connsiteY50" fmla="*/ 57022 h 476290"/>
                <a:gd name="connsiteX51" fmla="*/ 200818 w 484088"/>
                <a:gd name="connsiteY51" fmla="*/ 57022 h 476290"/>
                <a:gd name="connsiteX52" fmla="*/ 200818 w 484088"/>
                <a:gd name="connsiteY52" fmla="*/ 9715 h 476290"/>
                <a:gd name="connsiteX53" fmla="*/ 224003 w 484088"/>
                <a:gd name="connsiteY53" fmla="*/ 0 h 476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84088" h="476290">
                  <a:moveTo>
                    <a:pt x="224003" y="410646"/>
                  </a:moveTo>
                  <a:cubicBezTo>
                    <a:pt x="232375" y="410646"/>
                    <a:pt x="240747" y="413798"/>
                    <a:pt x="247187" y="420103"/>
                  </a:cubicBezTo>
                  <a:cubicBezTo>
                    <a:pt x="260067" y="433084"/>
                    <a:pt x="260067" y="453853"/>
                    <a:pt x="247187" y="466833"/>
                  </a:cubicBezTo>
                  <a:cubicBezTo>
                    <a:pt x="234307" y="479443"/>
                    <a:pt x="213699" y="479443"/>
                    <a:pt x="200818" y="466833"/>
                  </a:cubicBezTo>
                  <a:cubicBezTo>
                    <a:pt x="188306" y="454224"/>
                    <a:pt x="188306" y="433455"/>
                    <a:pt x="200818" y="420103"/>
                  </a:cubicBezTo>
                  <a:cubicBezTo>
                    <a:pt x="207259" y="413798"/>
                    <a:pt x="215631" y="410646"/>
                    <a:pt x="224003" y="410646"/>
                  </a:cubicBezTo>
                  <a:close/>
                  <a:moveTo>
                    <a:pt x="121049" y="316301"/>
                  </a:moveTo>
                  <a:cubicBezTo>
                    <a:pt x="127512" y="316301"/>
                    <a:pt x="133929" y="318800"/>
                    <a:pt x="138696" y="323796"/>
                  </a:cubicBezTo>
                  <a:cubicBezTo>
                    <a:pt x="148597" y="333788"/>
                    <a:pt x="148597" y="349333"/>
                    <a:pt x="138696" y="359325"/>
                  </a:cubicBezTo>
                  <a:cubicBezTo>
                    <a:pt x="129162" y="369318"/>
                    <a:pt x="113028" y="369318"/>
                    <a:pt x="103128" y="359325"/>
                  </a:cubicBezTo>
                  <a:cubicBezTo>
                    <a:pt x="93227" y="349333"/>
                    <a:pt x="93227" y="333788"/>
                    <a:pt x="103128" y="323796"/>
                  </a:cubicBezTo>
                  <a:cubicBezTo>
                    <a:pt x="108078" y="318800"/>
                    <a:pt x="114587" y="316301"/>
                    <a:pt x="121049" y="316301"/>
                  </a:cubicBezTo>
                  <a:close/>
                  <a:moveTo>
                    <a:pt x="325449" y="298284"/>
                  </a:moveTo>
                  <a:cubicBezTo>
                    <a:pt x="336448" y="298284"/>
                    <a:pt x="347448" y="302490"/>
                    <a:pt x="356024" y="310902"/>
                  </a:cubicBezTo>
                  <a:cubicBezTo>
                    <a:pt x="372803" y="328099"/>
                    <a:pt x="373175" y="355016"/>
                    <a:pt x="356024" y="372214"/>
                  </a:cubicBezTo>
                  <a:cubicBezTo>
                    <a:pt x="339245" y="389037"/>
                    <a:pt x="312026" y="389037"/>
                    <a:pt x="294874" y="372214"/>
                  </a:cubicBezTo>
                  <a:cubicBezTo>
                    <a:pt x="278468" y="355016"/>
                    <a:pt x="278468" y="328099"/>
                    <a:pt x="294874" y="310902"/>
                  </a:cubicBezTo>
                  <a:cubicBezTo>
                    <a:pt x="303450" y="302490"/>
                    <a:pt x="314449" y="298284"/>
                    <a:pt x="325449" y="298284"/>
                  </a:cubicBezTo>
                  <a:close/>
                  <a:moveTo>
                    <a:pt x="19273" y="218685"/>
                  </a:moveTo>
                  <a:cubicBezTo>
                    <a:pt x="24277" y="218685"/>
                    <a:pt x="29280" y="220543"/>
                    <a:pt x="32986" y="224259"/>
                  </a:cubicBezTo>
                  <a:cubicBezTo>
                    <a:pt x="40399" y="231692"/>
                    <a:pt x="40399" y="243955"/>
                    <a:pt x="32986" y="251759"/>
                  </a:cubicBezTo>
                  <a:cubicBezTo>
                    <a:pt x="25574" y="259192"/>
                    <a:pt x="12972" y="259192"/>
                    <a:pt x="5560" y="251759"/>
                  </a:cubicBezTo>
                  <a:cubicBezTo>
                    <a:pt x="-1853" y="243955"/>
                    <a:pt x="-1853" y="231692"/>
                    <a:pt x="5560" y="224259"/>
                  </a:cubicBezTo>
                  <a:cubicBezTo>
                    <a:pt x="9266" y="220543"/>
                    <a:pt x="14270" y="218685"/>
                    <a:pt x="19273" y="218685"/>
                  </a:cubicBezTo>
                  <a:close/>
                  <a:moveTo>
                    <a:pt x="224003" y="205318"/>
                  </a:moveTo>
                  <a:cubicBezTo>
                    <a:pt x="232375" y="205318"/>
                    <a:pt x="240747" y="208604"/>
                    <a:pt x="247187" y="215174"/>
                  </a:cubicBezTo>
                  <a:cubicBezTo>
                    <a:pt x="260067" y="228315"/>
                    <a:pt x="260067" y="249341"/>
                    <a:pt x="247187" y="262482"/>
                  </a:cubicBezTo>
                  <a:cubicBezTo>
                    <a:pt x="234307" y="275624"/>
                    <a:pt x="213699" y="275624"/>
                    <a:pt x="200818" y="262482"/>
                  </a:cubicBezTo>
                  <a:cubicBezTo>
                    <a:pt x="188306" y="249341"/>
                    <a:pt x="188306" y="228315"/>
                    <a:pt x="200818" y="215174"/>
                  </a:cubicBezTo>
                  <a:cubicBezTo>
                    <a:pt x="207259" y="208604"/>
                    <a:pt x="215631" y="205318"/>
                    <a:pt x="224003" y="205318"/>
                  </a:cubicBezTo>
                  <a:close/>
                  <a:moveTo>
                    <a:pt x="428279" y="182871"/>
                  </a:moveTo>
                  <a:cubicBezTo>
                    <a:pt x="442487" y="182871"/>
                    <a:pt x="456694" y="188365"/>
                    <a:pt x="467652" y="199351"/>
                  </a:cubicBezTo>
                  <a:cubicBezTo>
                    <a:pt x="489567" y="221325"/>
                    <a:pt x="489567" y="256334"/>
                    <a:pt x="467652" y="278307"/>
                  </a:cubicBezTo>
                  <a:cubicBezTo>
                    <a:pt x="445737" y="300281"/>
                    <a:pt x="410821" y="300281"/>
                    <a:pt x="388906" y="278307"/>
                  </a:cubicBezTo>
                  <a:cubicBezTo>
                    <a:pt x="366991" y="256706"/>
                    <a:pt x="366991" y="221325"/>
                    <a:pt x="388906" y="199351"/>
                  </a:cubicBezTo>
                  <a:cubicBezTo>
                    <a:pt x="399864" y="188365"/>
                    <a:pt x="414071" y="182871"/>
                    <a:pt x="428279" y="182871"/>
                  </a:cubicBezTo>
                  <a:close/>
                  <a:moveTo>
                    <a:pt x="121049" y="110842"/>
                  </a:moveTo>
                  <a:cubicBezTo>
                    <a:pt x="127512" y="110842"/>
                    <a:pt x="133929" y="113340"/>
                    <a:pt x="138696" y="118337"/>
                  </a:cubicBezTo>
                  <a:cubicBezTo>
                    <a:pt x="148597" y="128329"/>
                    <a:pt x="148597" y="144244"/>
                    <a:pt x="138696" y="154236"/>
                  </a:cubicBezTo>
                  <a:cubicBezTo>
                    <a:pt x="129162" y="163859"/>
                    <a:pt x="113028" y="163859"/>
                    <a:pt x="103128" y="154236"/>
                  </a:cubicBezTo>
                  <a:cubicBezTo>
                    <a:pt x="93227" y="144244"/>
                    <a:pt x="93227" y="128329"/>
                    <a:pt x="103128" y="118337"/>
                  </a:cubicBezTo>
                  <a:cubicBezTo>
                    <a:pt x="108078" y="113340"/>
                    <a:pt x="114587" y="110842"/>
                    <a:pt x="121049" y="110842"/>
                  </a:cubicBezTo>
                  <a:close/>
                  <a:moveTo>
                    <a:pt x="325683" y="92919"/>
                  </a:moveTo>
                  <a:cubicBezTo>
                    <a:pt x="336593" y="92919"/>
                    <a:pt x="347550" y="97219"/>
                    <a:pt x="356092" y="105817"/>
                  </a:cubicBezTo>
                  <a:cubicBezTo>
                    <a:pt x="373177" y="122641"/>
                    <a:pt x="373177" y="149558"/>
                    <a:pt x="356092" y="166756"/>
                  </a:cubicBezTo>
                  <a:cubicBezTo>
                    <a:pt x="339007" y="183579"/>
                    <a:pt x="312638" y="183579"/>
                    <a:pt x="295553" y="166756"/>
                  </a:cubicBezTo>
                  <a:cubicBezTo>
                    <a:pt x="278840" y="149558"/>
                    <a:pt x="278468" y="122641"/>
                    <a:pt x="295553" y="105817"/>
                  </a:cubicBezTo>
                  <a:cubicBezTo>
                    <a:pt x="303910" y="97219"/>
                    <a:pt x="314773" y="92919"/>
                    <a:pt x="325683" y="92919"/>
                  </a:cubicBezTo>
                  <a:close/>
                  <a:moveTo>
                    <a:pt x="224003" y="0"/>
                  </a:moveTo>
                  <a:cubicBezTo>
                    <a:pt x="232375" y="-47"/>
                    <a:pt x="240747" y="3144"/>
                    <a:pt x="247187" y="9715"/>
                  </a:cubicBezTo>
                  <a:cubicBezTo>
                    <a:pt x="260067" y="22480"/>
                    <a:pt x="260067" y="44257"/>
                    <a:pt x="247187" y="57022"/>
                  </a:cubicBezTo>
                  <a:cubicBezTo>
                    <a:pt x="234307" y="70163"/>
                    <a:pt x="213699" y="69788"/>
                    <a:pt x="200818" y="57022"/>
                  </a:cubicBezTo>
                  <a:cubicBezTo>
                    <a:pt x="188306" y="43881"/>
                    <a:pt x="188306" y="22856"/>
                    <a:pt x="200818" y="9715"/>
                  </a:cubicBezTo>
                  <a:cubicBezTo>
                    <a:pt x="207259" y="3332"/>
                    <a:pt x="215631" y="47"/>
                    <a:pt x="224003" y="0"/>
                  </a:cubicBezTo>
                  <a:close/>
                </a:path>
              </a:pathLst>
            </a:custGeom>
            <a:solidFill>
              <a:srgbClr val="EC6602"/>
            </a:solidFill>
            <a:ln w="9525" cap="flat">
              <a:noFill/>
              <a:bevel/>
              <a:headEnd/>
              <a:tailEnd/>
            </a:ln>
            <a:effectLst/>
          </p:spPr>
          <p:txBody>
            <a:bodyPr wrap="square" anchor="ctr">
              <a:prstTxWarp prst="textNoShape">
                <a:avLst/>
              </a:prstTxWarp>
              <a:noAutofit/>
            </a:bodyPr>
            <a:lstStyle/>
            <a:p>
              <a:pPr marL="0" marR="0" lvl="0" indent="0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rPr>
                <a:t> </a:t>
              </a:r>
            </a:p>
          </p:txBody>
        </p:sp>
        <p:sp>
          <p:nvSpPr>
            <p:cNvPr id="497" name="Freihandform 496"/>
            <p:cNvSpPr>
              <a:spLocks noChangeAspect="1" noChangeArrowheads="1"/>
            </p:cNvSpPr>
            <p:nvPr/>
          </p:nvSpPr>
          <p:spPr bwMode="auto">
            <a:xfrm>
              <a:off x="7307072" y="2453653"/>
              <a:ext cx="1597948" cy="254396"/>
            </a:xfrm>
            <a:custGeom>
              <a:avLst/>
              <a:gdLst>
                <a:gd name="connsiteX0" fmla="*/ 1157347 w 1597949"/>
                <a:gd name="connsiteY0" fmla="*/ 4931 h 254396"/>
                <a:gd name="connsiteX1" fmla="*/ 1235941 w 1597949"/>
                <a:gd name="connsiteY1" fmla="*/ 4931 h 254396"/>
                <a:gd name="connsiteX2" fmla="*/ 1319354 w 1597949"/>
                <a:gd name="connsiteY2" fmla="*/ 168700 h 254396"/>
                <a:gd name="connsiteX3" fmla="*/ 1319354 w 1597949"/>
                <a:gd name="connsiteY3" fmla="*/ 4931 h 254396"/>
                <a:gd name="connsiteX4" fmla="*/ 1366807 w 1597949"/>
                <a:gd name="connsiteY4" fmla="*/ 4931 h 254396"/>
                <a:gd name="connsiteX5" fmla="*/ 1366807 w 1597949"/>
                <a:gd name="connsiteY5" fmla="*/ 249463 h 254396"/>
                <a:gd name="connsiteX6" fmla="*/ 1291179 w 1597949"/>
                <a:gd name="connsiteY6" fmla="*/ 249463 h 254396"/>
                <a:gd name="connsiteX7" fmla="*/ 1205170 w 1597949"/>
                <a:gd name="connsiteY7" fmla="*/ 83451 h 254396"/>
                <a:gd name="connsiteX8" fmla="*/ 1205170 w 1597949"/>
                <a:gd name="connsiteY8" fmla="*/ 249463 h 254396"/>
                <a:gd name="connsiteX9" fmla="*/ 1157347 w 1597949"/>
                <a:gd name="connsiteY9" fmla="*/ 249463 h 254396"/>
                <a:gd name="connsiteX10" fmla="*/ 936042 w 1597949"/>
                <a:gd name="connsiteY10" fmla="*/ 4931 h 254396"/>
                <a:gd name="connsiteX11" fmla="*/ 1110117 w 1597949"/>
                <a:gd name="connsiteY11" fmla="*/ 4931 h 254396"/>
                <a:gd name="connsiteX12" fmla="*/ 1110117 w 1597949"/>
                <a:gd name="connsiteY12" fmla="*/ 49052 h 254396"/>
                <a:gd name="connsiteX13" fmla="*/ 1001367 w 1597949"/>
                <a:gd name="connsiteY13" fmla="*/ 49052 h 254396"/>
                <a:gd name="connsiteX14" fmla="*/ 1001367 w 1597949"/>
                <a:gd name="connsiteY14" fmla="*/ 104015 h 254396"/>
                <a:gd name="connsiteX15" fmla="*/ 1096013 w 1597949"/>
                <a:gd name="connsiteY15" fmla="*/ 104015 h 254396"/>
                <a:gd name="connsiteX16" fmla="*/ 1096013 w 1597949"/>
                <a:gd name="connsiteY16" fmla="*/ 144771 h 254396"/>
                <a:gd name="connsiteX17" fmla="*/ 1001367 w 1597949"/>
                <a:gd name="connsiteY17" fmla="*/ 144771 h 254396"/>
                <a:gd name="connsiteX18" fmla="*/ 1001367 w 1597949"/>
                <a:gd name="connsiteY18" fmla="*/ 202725 h 254396"/>
                <a:gd name="connsiteX19" fmla="*/ 1112716 w 1597949"/>
                <a:gd name="connsiteY19" fmla="*/ 202725 h 254396"/>
                <a:gd name="connsiteX20" fmla="*/ 1112716 w 1597949"/>
                <a:gd name="connsiteY20" fmla="*/ 249463 h 254396"/>
                <a:gd name="connsiteX21" fmla="*/ 936042 w 1597949"/>
                <a:gd name="connsiteY21" fmla="*/ 249463 h 254396"/>
                <a:gd name="connsiteX22" fmla="*/ 577034 w 1597949"/>
                <a:gd name="connsiteY22" fmla="*/ 4931 h 254396"/>
                <a:gd name="connsiteX23" fmla="*/ 665266 w 1597949"/>
                <a:gd name="connsiteY23" fmla="*/ 4931 h 254396"/>
                <a:gd name="connsiteX24" fmla="*/ 725949 w 1597949"/>
                <a:gd name="connsiteY24" fmla="*/ 160843 h 254396"/>
                <a:gd name="connsiteX25" fmla="*/ 789611 w 1597949"/>
                <a:gd name="connsiteY25" fmla="*/ 4931 h 254396"/>
                <a:gd name="connsiteX26" fmla="*/ 873375 w 1597949"/>
                <a:gd name="connsiteY26" fmla="*/ 4931 h 254396"/>
                <a:gd name="connsiteX27" fmla="*/ 873375 w 1597949"/>
                <a:gd name="connsiteY27" fmla="*/ 248870 h 254396"/>
                <a:gd name="connsiteX28" fmla="*/ 808225 w 1597949"/>
                <a:gd name="connsiteY28" fmla="*/ 248870 h 254396"/>
                <a:gd name="connsiteX29" fmla="*/ 808225 w 1597949"/>
                <a:gd name="connsiteY29" fmla="*/ 75800 h 254396"/>
                <a:gd name="connsiteX30" fmla="*/ 737118 w 1597949"/>
                <a:gd name="connsiteY30" fmla="*/ 251108 h 254396"/>
                <a:gd name="connsiteX31" fmla="*/ 694677 w 1597949"/>
                <a:gd name="connsiteY31" fmla="*/ 251108 h 254396"/>
                <a:gd name="connsiteX32" fmla="*/ 625059 w 1597949"/>
                <a:gd name="connsiteY32" fmla="*/ 75800 h 254396"/>
                <a:gd name="connsiteX33" fmla="*/ 625059 w 1597949"/>
                <a:gd name="connsiteY33" fmla="*/ 248870 h 254396"/>
                <a:gd name="connsiteX34" fmla="*/ 577034 w 1597949"/>
                <a:gd name="connsiteY34" fmla="*/ 248870 h 254396"/>
                <a:gd name="connsiteX35" fmla="*/ 355729 w 1597949"/>
                <a:gd name="connsiteY35" fmla="*/ 4931 h 254396"/>
                <a:gd name="connsiteX36" fmla="*/ 530170 w 1597949"/>
                <a:gd name="connsiteY36" fmla="*/ 4931 h 254396"/>
                <a:gd name="connsiteX37" fmla="*/ 530170 w 1597949"/>
                <a:gd name="connsiteY37" fmla="*/ 49052 h 254396"/>
                <a:gd name="connsiteX38" fmla="*/ 420819 w 1597949"/>
                <a:gd name="connsiteY38" fmla="*/ 49052 h 254396"/>
                <a:gd name="connsiteX39" fmla="*/ 420819 w 1597949"/>
                <a:gd name="connsiteY39" fmla="*/ 104015 h 254396"/>
                <a:gd name="connsiteX40" fmla="*/ 516036 w 1597949"/>
                <a:gd name="connsiteY40" fmla="*/ 104015 h 254396"/>
                <a:gd name="connsiteX41" fmla="*/ 516036 w 1597949"/>
                <a:gd name="connsiteY41" fmla="*/ 144771 h 254396"/>
                <a:gd name="connsiteX42" fmla="*/ 420819 w 1597949"/>
                <a:gd name="connsiteY42" fmla="*/ 144771 h 254396"/>
                <a:gd name="connsiteX43" fmla="*/ 420819 w 1597949"/>
                <a:gd name="connsiteY43" fmla="*/ 202725 h 254396"/>
                <a:gd name="connsiteX44" fmla="*/ 532402 w 1597949"/>
                <a:gd name="connsiteY44" fmla="*/ 202725 h 254396"/>
                <a:gd name="connsiteX45" fmla="*/ 532402 w 1597949"/>
                <a:gd name="connsiteY45" fmla="*/ 249463 h 254396"/>
                <a:gd name="connsiteX46" fmla="*/ 355729 w 1597949"/>
                <a:gd name="connsiteY46" fmla="*/ 249463 h 254396"/>
                <a:gd name="connsiteX47" fmla="*/ 226224 w 1597949"/>
                <a:gd name="connsiteY47" fmla="*/ 4931 h 254396"/>
                <a:gd name="connsiteX48" fmla="*/ 293068 w 1597949"/>
                <a:gd name="connsiteY48" fmla="*/ 4931 h 254396"/>
                <a:gd name="connsiteX49" fmla="*/ 293068 w 1597949"/>
                <a:gd name="connsiteY49" fmla="*/ 249464 h 254396"/>
                <a:gd name="connsiteX50" fmla="*/ 259646 w 1597949"/>
                <a:gd name="connsiteY50" fmla="*/ 249464 h 254396"/>
                <a:gd name="connsiteX51" fmla="*/ 226224 w 1597949"/>
                <a:gd name="connsiteY51" fmla="*/ 249464 h 254396"/>
                <a:gd name="connsiteX52" fmla="*/ 1509330 w 1597949"/>
                <a:gd name="connsiteY52" fmla="*/ 0 h 254396"/>
                <a:gd name="connsiteX53" fmla="*/ 1573106 w 1597949"/>
                <a:gd name="connsiteY53" fmla="*/ 7806 h 254396"/>
                <a:gd name="connsiteX54" fmla="*/ 1579039 w 1597949"/>
                <a:gd name="connsiteY54" fmla="*/ 8921 h 254396"/>
                <a:gd name="connsiteX55" fmla="*/ 1579039 w 1597949"/>
                <a:gd name="connsiteY55" fmla="*/ 55011 h 254396"/>
                <a:gd name="connsiteX56" fmla="*/ 1516004 w 1597949"/>
                <a:gd name="connsiteY56" fmla="*/ 41630 h 254396"/>
                <a:gd name="connsiteX57" fmla="*/ 1475217 w 1597949"/>
                <a:gd name="connsiteY57" fmla="*/ 63932 h 254396"/>
                <a:gd name="connsiteX58" fmla="*/ 1483745 w 1597949"/>
                <a:gd name="connsiteY58" fmla="*/ 78056 h 254396"/>
                <a:gd name="connsiteX59" fmla="*/ 1521195 w 1597949"/>
                <a:gd name="connsiteY59" fmla="*/ 96641 h 254396"/>
                <a:gd name="connsiteX60" fmla="*/ 1580522 w 1597949"/>
                <a:gd name="connsiteY60" fmla="*/ 130837 h 254396"/>
                <a:gd name="connsiteX61" fmla="*/ 1597949 w 1597949"/>
                <a:gd name="connsiteY61" fmla="*/ 175812 h 254396"/>
                <a:gd name="connsiteX62" fmla="*/ 1563466 w 1597949"/>
                <a:gd name="connsiteY62" fmla="*/ 236027 h 254396"/>
                <a:gd name="connsiteX63" fmla="*/ 1491532 w 1597949"/>
                <a:gd name="connsiteY63" fmla="*/ 252753 h 254396"/>
                <a:gd name="connsiteX64" fmla="*/ 1415890 w 1597949"/>
                <a:gd name="connsiteY64" fmla="*/ 243833 h 254396"/>
                <a:gd name="connsiteX65" fmla="*/ 1415890 w 1597949"/>
                <a:gd name="connsiteY65" fmla="*/ 195884 h 254396"/>
                <a:gd name="connsiteX66" fmla="*/ 1488565 w 1597949"/>
                <a:gd name="connsiteY66" fmla="*/ 208893 h 254396"/>
                <a:gd name="connsiteX67" fmla="*/ 1532319 w 1597949"/>
                <a:gd name="connsiteY67" fmla="*/ 186220 h 254396"/>
                <a:gd name="connsiteX68" fmla="*/ 1526386 w 1597949"/>
                <a:gd name="connsiteY68" fmla="*/ 171724 h 254396"/>
                <a:gd name="connsiteX69" fmla="*/ 1493015 w 1597949"/>
                <a:gd name="connsiteY69" fmla="*/ 154254 h 254396"/>
                <a:gd name="connsiteX70" fmla="*/ 1430351 w 1597949"/>
                <a:gd name="connsiteY70" fmla="*/ 120430 h 254396"/>
                <a:gd name="connsiteX71" fmla="*/ 1411440 w 1597949"/>
                <a:gd name="connsiteY71" fmla="*/ 73596 h 254396"/>
                <a:gd name="connsiteX72" fmla="*/ 1438879 w 1597949"/>
                <a:gd name="connsiteY72" fmla="*/ 18957 h 254396"/>
                <a:gd name="connsiteX73" fmla="*/ 1509330 w 1597949"/>
                <a:gd name="connsiteY73" fmla="*/ 0 h 254396"/>
                <a:gd name="connsiteX74" fmla="*/ 97518 w 1597949"/>
                <a:gd name="connsiteY74" fmla="*/ 0 h 254396"/>
                <a:gd name="connsiteX75" fmla="*/ 166857 w 1597949"/>
                <a:gd name="connsiteY75" fmla="*/ 8966 h 254396"/>
                <a:gd name="connsiteX76" fmla="*/ 166857 w 1597949"/>
                <a:gd name="connsiteY76" fmla="*/ 55661 h 254396"/>
                <a:gd name="connsiteX77" fmla="*/ 104564 w 1597949"/>
                <a:gd name="connsiteY77" fmla="*/ 42213 h 254396"/>
                <a:gd name="connsiteX78" fmla="*/ 64147 w 1597949"/>
                <a:gd name="connsiteY78" fmla="*/ 64626 h 254396"/>
                <a:gd name="connsiteX79" fmla="*/ 72675 w 1597949"/>
                <a:gd name="connsiteY79" fmla="*/ 78448 h 254396"/>
                <a:gd name="connsiteX80" fmla="*/ 109755 w 1597949"/>
                <a:gd name="connsiteY80" fmla="*/ 97126 h 254396"/>
                <a:gd name="connsiteX81" fmla="*/ 169082 w 1597949"/>
                <a:gd name="connsiteY81" fmla="*/ 131494 h 254396"/>
                <a:gd name="connsiteX82" fmla="*/ 186509 w 1597949"/>
                <a:gd name="connsiteY82" fmla="*/ 176695 h 254396"/>
                <a:gd name="connsiteX83" fmla="*/ 152025 w 1597949"/>
                <a:gd name="connsiteY83" fmla="*/ 237212 h 254396"/>
                <a:gd name="connsiteX84" fmla="*/ 80462 w 1597949"/>
                <a:gd name="connsiteY84" fmla="*/ 254396 h 254396"/>
                <a:gd name="connsiteX85" fmla="*/ 4820 w 1597949"/>
                <a:gd name="connsiteY85" fmla="*/ 244683 h 254396"/>
                <a:gd name="connsiteX86" fmla="*/ 4820 w 1597949"/>
                <a:gd name="connsiteY86" fmla="*/ 196494 h 254396"/>
                <a:gd name="connsiteX87" fmla="*/ 77496 w 1597949"/>
                <a:gd name="connsiteY87" fmla="*/ 209568 h 254396"/>
                <a:gd name="connsiteX88" fmla="*/ 120878 w 1597949"/>
                <a:gd name="connsiteY88" fmla="*/ 186781 h 254396"/>
                <a:gd name="connsiteX89" fmla="*/ 114204 w 1597949"/>
                <a:gd name="connsiteY89" fmla="*/ 172212 h 254396"/>
                <a:gd name="connsiteX90" fmla="*/ 81574 w 1597949"/>
                <a:gd name="connsiteY90" fmla="*/ 154655 h 254396"/>
                <a:gd name="connsiteX91" fmla="*/ 18910 w 1597949"/>
                <a:gd name="connsiteY91" fmla="*/ 120661 h 254396"/>
                <a:gd name="connsiteX92" fmla="*/ 0 w 1597949"/>
                <a:gd name="connsiteY92" fmla="*/ 73965 h 254396"/>
                <a:gd name="connsiteX93" fmla="*/ 27438 w 1597949"/>
                <a:gd name="connsiteY93" fmla="*/ 19052 h 254396"/>
                <a:gd name="connsiteX94" fmla="*/ 97518 w 1597949"/>
                <a:gd name="connsiteY94" fmla="*/ 0 h 254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597949" h="254396">
                  <a:moveTo>
                    <a:pt x="1157347" y="4931"/>
                  </a:moveTo>
                  <a:lnTo>
                    <a:pt x="1235941" y="4931"/>
                  </a:lnTo>
                  <a:lnTo>
                    <a:pt x="1319354" y="168700"/>
                  </a:lnTo>
                  <a:lnTo>
                    <a:pt x="1319354" y="4931"/>
                  </a:lnTo>
                  <a:lnTo>
                    <a:pt x="1366807" y="4931"/>
                  </a:lnTo>
                  <a:lnTo>
                    <a:pt x="1366807" y="249463"/>
                  </a:lnTo>
                  <a:lnTo>
                    <a:pt x="1291179" y="249463"/>
                  </a:lnTo>
                  <a:lnTo>
                    <a:pt x="1205170" y="83451"/>
                  </a:lnTo>
                  <a:lnTo>
                    <a:pt x="1205170" y="249463"/>
                  </a:lnTo>
                  <a:lnTo>
                    <a:pt x="1157347" y="249463"/>
                  </a:lnTo>
                  <a:close/>
                  <a:moveTo>
                    <a:pt x="936042" y="4931"/>
                  </a:moveTo>
                  <a:lnTo>
                    <a:pt x="1110117" y="4931"/>
                  </a:lnTo>
                  <a:lnTo>
                    <a:pt x="1110117" y="49052"/>
                  </a:lnTo>
                  <a:lnTo>
                    <a:pt x="1001367" y="49052"/>
                  </a:lnTo>
                  <a:lnTo>
                    <a:pt x="1001367" y="104015"/>
                  </a:lnTo>
                  <a:lnTo>
                    <a:pt x="1096013" y="104015"/>
                  </a:lnTo>
                  <a:lnTo>
                    <a:pt x="1096013" y="144771"/>
                  </a:lnTo>
                  <a:lnTo>
                    <a:pt x="1001367" y="144771"/>
                  </a:lnTo>
                  <a:lnTo>
                    <a:pt x="1001367" y="202725"/>
                  </a:lnTo>
                  <a:lnTo>
                    <a:pt x="1112716" y="202725"/>
                  </a:lnTo>
                  <a:lnTo>
                    <a:pt x="1112716" y="249463"/>
                  </a:lnTo>
                  <a:lnTo>
                    <a:pt x="936042" y="249463"/>
                  </a:lnTo>
                  <a:close/>
                  <a:moveTo>
                    <a:pt x="577034" y="4931"/>
                  </a:moveTo>
                  <a:lnTo>
                    <a:pt x="665266" y="4931"/>
                  </a:lnTo>
                  <a:lnTo>
                    <a:pt x="725949" y="160843"/>
                  </a:lnTo>
                  <a:lnTo>
                    <a:pt x="789611" y="4931"/>
                  </a:lnTo>
                  <a:lnTo>
                    <a:pt x="873375" y="4931"/>
                  </a:lnTo>
                  <a:lnTo>
                    <a:pt x="873375" y="248870"/>
                  </a:lnTo>
                  <a:lnTo>
                    <a:pt x="808225" y="248870"/>
                  </a:lnTo>
                  <a:lnTo>
                    <a:pt x="808225" y="75800"/>
                  </a:lnTo>
                  <a:lnTo>
                    <a:pt x="737118" y="251108"/>
                  </a:lnTo>
                  <a:lnTo>
                    <a:pt x="694677" y="251108"/>
                  </a:lnTo>
                  <a:lnTo>
                    <a:pt x="625059" y="75800"/>
                  </a:lnTo>
                  <a:lnTo>
                    <a:pt x="625059" y="248870"/>
                  </a:lnTo>
                  <a:lnTo>
                    <a:pt x="577034" y="248870"/>
                  </a:lnTo>
                  <a:close/>
                  <a:moveTo>
                    <a:pt x="355729" y="4931"/>
                  </a:moveTo>
                  <a:lnTo>
                    <a:pt x="530170" y="4931"/>
                  </a:lnTo>
                  <a:lnTo>
                    <a:pt x="530170" y="49052"/>
                  </a:lnTo>
                  <a:lnTo>
                    <a:pt x="420819" y="49052"/>
                  </a:lnTo>
                  <a:lnTo>
                    <a:pt x="420819" y="104015"/>
                  </a:lnTo>
                  <a:lnTo>
                    <a:pt x="516036" y="104015"/>
                  </a:lnTo>
                  <a:lnTo>
                    <a:pt x="516036" y="144771"/>
                  </a:lnTo>
                  <a:lnTo>
                    <a:pt x="420819" y="144771"/>
                  </a:lnTo>
                  <a:lnTo>
                    <a:pt x="420819" y="202725"/>
                  </a:lnTo>
                  <a:lnTo>
                    <a:pt x="532402" y="202725"/>
                  </a:lnTo>
                  <a:lnTo>
                    <a:pt x="532402" y="249463"/>
                  </a:lnTo>
                  <a:lnTo>
                    <a:pt x="355729" y="249463"/>
                  </a:lnTo>
                  <a:close/>
                  <a:moveTo>
                    <a:pt x="226224" y="4931"/>
                  </a:moveTo>
                  <a:lnTo>
                    <a:pt x="293068" y="4931"/>
                  </a:lnTo>
                  <a:lnTo>
                    <a:pt x="293068" y="249464"/>
                  </a:lnTo>
                  <a:lnTo>
                    <a:pt x="259646" y="249464"/>
                  </a:lnTo>
                  <a:lnTo>
                    <a:pt x="226224" y="249464"/>
                  </a:lnTo>
                  <a:close/>
                  <a:moveTo>
                    <a:pt x="1509330" y="0"/>
                  </a:moveTo>
                  <a:cubicBezTo>
                    <a:pt x="1525645" y="0"/>
                    <a:pt x="1546780" y="2230"/>
                    <a:pt x="1573106" y="7806"/>
                  </a:cubicBezTo>
                  <a:lnTo>
                    <a:pt x="1579039" y="8921"/>
                  </a:lnTo>
                  <a:lnTo>
                    <a:pt x="1579039" y="55011"/>
                  </a:lnTo>
                  <a:cubicBezTo>
                    <a:pt x="1556421" y="46090"/>
                    <a:pt x="1535285" y="41630"/>
                    <a:pt x="1516004" y="41630"/>
                  </a:cubicBezTo>
                  <a:cubicBezTo>
                    <a:pt x="1488565" y="41630"/>
                    <a:pt x="1475217" y="49064"/>
                    <a:pt x="1475217" y="63932"/>
                  </a:cubicBezTo>
                  <a:cubicBezTo>
                    <a:pt x="1475217" y="69507"/>
                    <a:pt x="1477812" y="73968"/>
                    <a:pt x="1483745" y="78056"/>
                  </a:cubicBezTo>
                  <a:cubicBezTo>
                    <a:pt x="1488195" y="81030"/>
                    <a:pt x="1500431" y="86977"/>
                    <a:pt x="1521195" y="96641"/>
                  </a:cubicBezTo>
                  <a:cubicBezTo>
                    <a:pt x="1550488" y="109279"/>
                    <a:pt x="1570511" y="120801"/>
                    <a:pt x="1580522" y="130837"/>
                  </a:cubicBezTo>
                  <a:cubicBezTo>
                    <a:pt x="1592017" y="142360"/>
                    <a:pt x="1597949" y="157228"/>
                    <a:pt x="1597949" y="175812"/>
                  </a:cubicBezTo>
                  <a:cubicBezTo>
                    <a:pt x="1597949" y="202203"/>
                    <a:pt x="1586455" y="221903"/>
                    <a:pt x="1563466" y="236027"/>
                  </a:cubicBezTo>
                  <a:cubicBezTo>
                    <a:pt x="1544555" y="247178"/>
                    <a:pt x="1520824" y="252753"/>
                    <a:pt x="1491532" y="252753"/>
                  </a:cubicBezTo>
                  <a:cubicBezTo>
                    <a:pt x="1466689" y="252753"/>
                    <a:pt x="1441475" y="249780"/>
                    <a:pt x="1415890" y="243833"/>
                  </a:cubicBezTo>
                  <a:lnTo>
                    <a:pt x="1415890" y="195884"/>
                  </a:lnTo>
                  <a:cubicBezTo>
                    <a:pt x="1442958" y="204433"/>
                    <a:pt x="1467059" y="208893"/>
                    <a:pt x="1488565" y="208893"/>
                  </a:cubicBezTo>
                  <a:cubicBezTo>
                    <a:pt x="1517487" y="208893"/>
                    <a:pt x="1532319" y="201459"/>
                    <a:pt x="1532319" y="186220"/>
                  </a:cubicBezTo>
                  <a:cubicBezTo>
                    <a:pt x="1532319" y="180273"/>
                    <a:pt x="1530465" y="175812"/>
                    <a:pt x="1526386" y="171724"/>
                  </a:cubicBezTo>
                  <a:cubicBezTo>
                    <a:pt x="1521937" y="167635"/>
                    <a:pt x="1510813" y="161688"/>
                    <a:pt x="1493015" y="154254"/>
                  </a:cubicBezTo>
                  <a:cubicBezTo>
                    <a:pt x="1461127" y="141245"/>
                    <a:pt x="1440362" y="129722"/>
                    <a:pt x="1430351" y="120430"/>
                  </a:cubicBezTo>
                  <a:cubicBezTo>
                    <a:pt x="1418115" y="108535"/>
                    <a:pt x="1411440" y="92552"/>
                    <a:pt x="1411440" y="73596"/>
                  </a:cubicBezTo>
                  <a:cubicBezTo>
                    <a:pt x="1411440" y="49807"/>
                    <a:pt x="1420339" y="31223"/>
                    <a:pt x="1438879" y="18957"/>
                  </a:cubicBezTo>
                  <a:cubicBezTo>
                    <a:pt x="1456677" y="6319"/>
                    <a:pt x="1480779" y="0"/>
                    <a:pt x="1509330" y="0"/>
                  </a:cubicBezTo>
                  <a:close/>
                  <a:moveTo>
                    <a:pt x="97518" y="0"/>
                  </a:moveTo>
                  <a:cubicBezTo>
                    <a:pt x="113463" y="0"/>
                    <a:pt x="136823" y="2989"/>
                    <a:pt x="166857" y="8966"/>
                  </a:cubicBezTo>
                  <a:lnTo>
                    <a:pt x="166857" y="55661"/>
                  </a:lnTo>
                  <a:cubicBezTo>
                    <a:pt x="144609" y="46695"/>
                    <a:pt x="123845" y="42213"/>
                    <a:pt x="104564" y="42213"/>
                  </a:cubicBezTo>
                  <a:cubicBezTo>
                    <a:pt x="77496" y="42213"/>
                    <a:pt x="64147" y="49684"/>
                    <a:pt x="64147" y="64626"/>
                  </a:cubicBezTo>
                  <a:cubicBezTo>
                    <a:pt x="64147" y="70230"/>
                    <a:pt x="67113" y="74712"/>
                    <a:pt x="72675" y="78448"/>
                  </a:cubicBezTo>
                  <a:cubicBezTo>
                    <a:pt x="77125" y="81437"/>
                    <a:pt x="89732" y="87414"/>
                    <a:pt x="109755" y="97126"/>
                  </a:cubicBezTo>
                  <a:cubicBezTo>
                    <a:pt x="139789" y="110201"/>
                    <a:pt x="159441" y="121408"/>
                    <a:pt x="169082" y="131494"/>
                  </a:cubicBezTo>
                  <a:cubicBezTo>
                    <a:pt x="180947" y="142701"/>
                    <a:pt x="186509" y="158017"/>
                    <a:pt x="186509" y="176695"/>
                  </a:cubicBezTo>
                  <a:cubicBezTo>
                    <a:pt x="186509" y="203218"/>
                    <a:pt x="175014" y="223016"/>
                    <a:pt x="152025" y="237212"/>
                  </a:cubicBezTo>
                  <a:cubicBezTo>
                    <a:pt x="133856" y="248792"/>
                    <a:pt x="109384" y="254396"/>
                    <a:pt x="80462" y="254396"/>
                  </a:cubicBezTo>
                  <a:cubicBezTo>
                    <a:pt x="55619" y="253648"/>
                    <a:pt x="30405" y="250660"/>
                    <a:pt x="4820" y="244683"/>
                  </a:cubicBezTo>
                  <a:lnTo>
                    <a:pt x="4820" y="196494"/>
                  </a:lnTo>
                  <a:cubicBezTo>
                    <a:pt x="32259" y="205085"/>
                    <a:pt x="56731" y="209568"/>
                    <a:pt x="77496" y="209568"/>
                  </a:cubicBezTo>
                  <a:cubicBezTo>
                    <a:pt x="106047" y="209568"/>
                    <a:pt x="120878" y="202097"/>
                    <a:pt x="120878" y="186781"/>
                  </a:cubicBezTo>
                  <a:cubicBezTo>
                    <a:pt x="120878" y="180804"/>
                    <a:pt x="119025" y="176321"/>
                    <a:pt x="114204" y="172212"/>
                  </a:cubicBezTo>
                  <a:cubicBezTo>
                    <a:pt x="109755" y="168103"/>
                    <a:pt x="99002" y="162126"/>
                    <a:pt x="81574" y="154655"/>
                  </a:cubicBezTo>
                  <a:cubicBezTo>
                    <a:pt x="49686" y="141580"/>
                    <a:pt x="28922" y="130000"/>
                    <a:pt x="18910" y="120661"/>
                  </a:cubicBezTo>
                  <a:cubicBezTo>
                    <a:pt x="6303" y="107959"/>
                    <a:pt x="0" y="92643"/>
                    <a:pt x="0" y="73965"/>
                  </a:cubicBezTo>
                  <a:cubicBezTo>
                    <a:pt x="0" y="50057"/>
                    <a:pt x="8899" y="31379"/>
                    <a:pt x="27438" y="19052"/>
                  </a:cubicBezTo>
                  <a:cubicBezTo>
                    <a:pt x="45237" y="6351"/>
                    <a:pt x="68967" y="0"/>
                    <a:pt x="97518" y="0"/>
                  </a:cubicBezTo>
                  <a:close/>
                </a:path>
              </a:pathLst>
            </a:custGeom>
            <a:solidFill>
              <a:srgbClr val="009999"/>
            </a:solidFill>
            <a:ln w="9525" cap="flat">
              <a:noFill/>
              <a:bevel/>
              <a:headEnd/>
              <a:tailEnd/>
            </a:ln>
            <a:effectLst/>
          </p:spPr>
          <p:txBody>
            <a:bodyPr wrap="square" anchor="ctr">
              <a:prstTxWarp prst="textNoShape">
                <a:avLst/>
              </a:prstTxWarp>
              <a:noAutofit/>
            </a:bodyPr>
            <a:lstStyle/>
            <a:p>
              <a:pPr marL="0" marR="0" lvl="0" indent="0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"/>
                <a:cs typeface=""/>
              </a:endParaRPr>
            </a:p>
          </p:txBody>
        </p:sp>
        <p:sp>
          <p:nvSpPr>
            <p:cNvPr id="498" name="Freihandform 497"/>
            <p:cNvSpPr>
              <a:spLocks noChangeAspect="1" noChangeArrowheads="1"/>
            </p:cNvSpPr>
            <p:nvPr/>
          </p:nvSpPr>
          <p:spPr bwMode="auto">
            <a:xfrm>
              <a:off x="6613648" y="2798826"/>
              <a:ext cx="2292197" cy="316855"/>
            </a:xfrm>
            <a:custGeom>
              <a:avLst/>
              <a:gdLst>
                <a:gd name="connsiteX0" fmla="*/ 561040 w 2292197"/>
                <a:gd name="connsiteY0" fmla="*/ 133276 h 316856"/>
                <a:gd name="connsiteX1" fmla="*/ 514756 w 2292197"/>
                <a:gd name="connsiteY1" fmla="*/ 208959 h 316856"/>
                <a:gd name="connsiteX2" fmla="*/ 553264 w 2292197"/>
                <a:gd name="connsiteY2" fmla="*/ 272711 h 316856"/>
                <a:gd name="connsiteX3" fmla="*/ 587329 w 2292197"/>
                <a:gd name="connsiteY3" fmla="*/ 241394 h 316856"/>
                <a:gd name="connsiteX4" fmla="*/ 587329 w 2292197"/>
                <a:gd name="connsiteY4" fmla="*/ 137750 h 316856"/>
                <a:gd name="connsiteX5" fmla="*/ 561040 w 2292197"/>
                <a:gd name="connsiteY5" fmla="*/ 133276 h 316856"/>
                <a:gd name="connsiteX6" fmla="*/ 1864005 w 2292197"/>
                <a:gd name="connsiteY6" fmla="*/ 131508 h 316856"/>
                <a:gd name="connsiteX7" fmla="*/ 1819277 w 2292197"/>
                <a:gd name="connsiteY7" fmla="*/ 188681 h 316856"/>
                <a:gd name="connsiteX8" fmla="*/ 1885623 w 2292197"/>
                <a:gd name="connsiteY8" fmla="*/ 152434 h 316856"/>
                <a:gd name="connsiteX9" fmla="*/ 1864005 w 2292197"/>
                <a:gd name="connsiteY9" fmla="*/ 131508 h 316856"/>
                <a:gd name="connsiteX10" fmla="*/ 1660732 w 2292197"/>
                <a:gd name="connsiteY10" fmla="*/ 131508 h 316856"/>
                <a:gd name="connsiteX11" fmla="*/ 1615632 w 2292197"/>
                <a:gd name="connsiteY11" fmla="*/ 188681 h 316856"/>
                <a:gd name="connsiteX12" fmla="*/ 1681977 w 2292197"/>
                <a:gd name="connsiteY12" fmla="*/ 152434 h 316856"/>
                <a:gd name="connsiteX13" fmla="*/ 1660732 w 2292197"/>
                <a:gd name="connsiteY13" fmla="*/ 131508 h 316856"/>
                <a:gd name="connsiteX14" fmla="*/ 351674 w 2292197"/>
                <a:gd name="connsiteY14" fmla="*/ 131508 h 316856"/>
                <a:gd name="connsiteX15" fmla="*/ 306574 w 2292197"/>
                <a:gd name="connsiteY15" fmla="*/ 188681 h 316856"/>
                <a:gd name="connsiteX16" fmla="*/ 372919 w 2292197"/>
                <a:gd name="connsiteY16" fmla="*/ 152434 h 316856"/>
                <a:gd name="connsiteX17" fmla="*/ 351674 w 2292197"/>
                <a:gd name="connsiteY17" fmla="*/ 131508 h 316856"/>
                <a:gd name="connsiteX18" fmla="*/ 1234395 w 2292197"/>
                <a:gd name="connsiteY18" fmla="*/ 96976 h 316856"/>
                <a:gd name="connsiteX19" fmla="*/ 1293037 w 2292197"/>
                <a:gd name="connsiteY19" fmla="*/ 96976 h 316856"/>
                <a:gd name="connsiteX20" fmla="*/ 1293037 w 2292197"/>
                <a:gd name="connsiteY20" fmla="*/ 310280 h 316856"/>
                <a:gd name="connsiteX21" fmla="*/ 1263529 w 2292197"/>
                <a:gd name="connsiteY21" fmla="*/ 310280 h 316856"/>
                <a:gd name="connsiteX22" fmla="*/ 1234395 w 2292197"/>
                <a:gd name="connsiteY22" fmla="*/ 310280 h 316856"/>
                <a:gd name="connsiteX23" fmla="*/ 2081174 w 2292197"/>
                <a:gd name="connsiteY23" fmla="*/ 90402 h 316856"/>
                <a:gd name="connsiteX24" fmla="*/ 2115969 w 2292197"/>
                <a:gd name="connsiteY24" fmla="*/ 97838 h 316856"/>
                <a:gd name="connsiteX25" fmla="*/ 2105604 w 2292197"/>
                <a:gd name="connsiteY25" fmla="*/ 148028 h 316856"/>
                <a:gd name="connsiteX26" fmla="*/ 2075991 w 2292197"/>
                <a:gd name="connsiteY26" fmla="*/ 140593 h 316856"/>
                <a:gd name="connsiteX27" fmla="*/ 2040826 w 2292197"/>
                <a:gd name="connsiteY27" fmla="*/ 176656 h 316856"/>
                <a:gd name="connsiteX28" fmla="*/ 2040826 w 2292197"/>
                <a:gd name="connsiteY28" fmla="*/ 308638 h 316856"/>
                <a:gd name="connsiteX29" fmla="*/ 1982710 w 2292197"/>
                <a:gd name="connsiteY29" fmla="*/ 308638 h 316856"/>
                <a:gd name="connsiteX30" fmla="*/ 1982710 w 2292197"/>
                <a:gd name="connsiteY30" fmla="*/ 133157 h 316856"/>
                <a:gd name="connsiteX31" fmla="*/ 1978638 w 2292197"/>
                <a:gd name="connsiteY31" fmla="*/ 96351 h 316856"/>
                <a:gd name="connsiteX32" fmla="*/ 2025649 w 2292197"/>
                <a:gd name="connsiteY32" fmla="*/ 96351 h 316856"/>
                <a:gd name="connsiteX33" fmla="*/ 2031202 w 2292197"/>
                <a:gd name="connsiteY33" fmla="*/ 126837 h 316856"/>
                <a:gd name="connsiteX34" fmla="*/ 2081174 w 2292197"/>
                <a:gd name="connsiteY34" fmla="*/ 90402 h 316856"/>
                <a:gd name="connsiteX35" fmla="*/ 1866986 w 2292197"/>
                <a:gd name="connsiteY35" fmla="*/ 90402 h 316856"/>
                <a:gd name="connsiteX36" fmla="*/ 1937059 w 2292197"/>
                <a:gd name="connsiteY36" fmla="*/ 152060 h 316856"/>
                <a:gd name="connsiteX37" fmla="*/ 1821141 w 2292197"/>
                <a:gd name="connsiteY37" fmla="*/ 230534 h 316856"/>
                <a:gd name="connsiteX38" fmla="*/ 1869595 w 2292197"/>
                <a:gd name="connsiteY38" fmla="*/ 272013 h 316856"/>
                <a:gd name="connsiteX39" fmla="*/ 1922150 w 2292197"/>
                <a:gd name="connsiteY39" fmla="*/ 254076 h 316856"/>
                <a:gd name="connsiteX40" fmla="*/ 1938923 w 2292197"/>
                <a:gd name="connsiteY40" fmla="*/ 293313 h 316856"/>
                <a:gd name="connsiteX41" fmla="*/ 1862141 w 2292197"/>
                <a:gd name="connsiteY41" fmla="*/ 316855 h 316856"/>
                <a:gd name="connsiteX42" fmla="*/ 1762250 w 2292197"/>
                <a:gd name="connsiteY42" fmla="*/ 208487 h 316856"/>
                <a:gd name="connsiteX43" fmla="*/ 1866986 w 2292197"/>
                <a:gd name="connsiteY43" fmla="*/ 90402 h 316856"/>
                <a:gd name="connsiteX44" fmla="*/ 1663713 w 2292197"/>
                <a:gd name="connsiteY44" fmla="*/ 90402 h 316856"/>
                <a:gd name="connsiteX45" fmla="*/ 1733413 w 2292197"/>
                <a:gd name="connsiteY45" fmla="*/ 152060 h 316856"/>
                <a:gd name="connsiteX46" fmla="*/ 1617868 w 2292197"/>
                <a:gd name="connsiteY46" fmla="*/ 230534 h 316856"/>
                <a:gd name="connsiteX47" fmla="*/ 1666322 w 2292197"/>
                <a:gd name="connsiteY47" fmla="*/ 272013 h 316856"/>
                <a:gd name="connsiteX48" fmla="*/ 1718504 w 2292197"/>
                <a:gd name="connsiteY48" fmla="*/ 254076 h 316856"/>
                <a:gd name="connsiteX49" fmla="*/ 1735650 w 2292197"/>
                <a:gd name="connsiteY49" fmla="*/ 293313 h 316856"/>
                <a:gd name="connsiteX50" fmla="*/ 1658495 w 2292197"/>
                <a:gd name="connsiteY50" fmla="*/ 316855 h 316856"/>
                <a:gd name="connsiteX51" fmla="*/ 1558977 w 2292197"/>
                <a:gd name="connsiteY51" fmla="*/ 208487 h 316856"/>
                <a:gd name="connsiteX52" fmla="*/ 1663713 w 2292197"/>
                <a:gd name="connsiteY52" fmla="*/ 90402 h 316856"/>
                <a:gd name="connsiteX53" fmla="*/ 1457145 w 2292197"/>
                <a:gd name="connsiteY53" fmla="*/ 90402 h 316856"/>
                <a:gd name="connsiteX54" fmla="*/ 1524180 w 2292197"/>
                <a:gd name="connsiteY54" fmla="*/ 164015 h 316856"/>
                <a:gd name="connsiteX55" fmla="*/ 1524180 w 2292197"/>
                <a:gd name="connsiteY55" fmla="*/ 308638 h 316856"/>
                <a:gd name="connsiteX56" fmla="*/ 1465710 w 2292197"/>
                <a:gd name="connsiteY56" fmla="*/ 308638 h 316856"/>
                <a:gd name="connsiteX57" fmla="*/ 1465710 w 2292197"/>
                <a:gd name="connsiteY57" fmla="*/ 174797 h 316856"/>
                <a:gd name="connsiteX58" fmla="*/ 1439641 w 2292197"/>
                <a:gd name="connsiteY58" fmla="*/ 134644 h 316856"/>
                <a:gd name="connsiteX59" fmla="*/ 1403516 w 2292197"/>
                <a:gd name="connsiteY59" fmla="*/ 172566 h 316856"/>
                <a:gd name="connsiteX60" fmla="*/ 1403516 w 2292197"/>
                <a:gd name="connsiteY60" fmla="*/ 308638 h 316856"/>
                <a:gd name="connsiteX61" fmla="*/ 1345047 w 2292197"/>
                <a:gd name="connsiteY61" fmla="*/ 308638 h 316856"/>
                <a:gd name="connsiteX62" fmla="*/ 1345047 w 2292197"/>
                <a:gd name="connsiteY62" fmla="*/ 135760 h 316856"/>
                <a:gd name="connsiteX63" fmla="*/ 1340950 w 2292197"/>
                <a:gd name="connsiteY63" fmla="*/ 96351 h 316856"/>
                <a:gd name="connsiteX64" fmla="*/ 1389737 w 2292197"/>
                <a:gd name="connsiteY64" fmla="*/ 96351 h 316856"/>
                <a:gd name="connsiteX65" fmla="*/ 1393834 w 2292197"/>
                <a:gd name="connsiteY65" fmla="*/ 121632 h 316856"/>
                <a:gd name="connsiteX66" fmla="*/ 1457145 w 2292197"/>
                <a:gd name="connsiteY66" fmla="*/ 90402 h 316856"/>
                <a:gd name="connsiteX67" fmla="*/ 568075 w 2292197"/>
                <a:gd name="connsiteY67" fmla="*/ 90402 h 316856"/>
                <a:gd name="connsiteX68" fmla="*/ 644721 w 2292197"/>
                <a:gd name="connsiteY68" fmla="*/ 105688 h 316856"/>
                <a:gd name="connsiteX69" fmla="*/ 644721 w 2292197"/>
                <a:gd name="connsiteY69" fmla="*/ 266746 h 316856"/>
                <a:gd name="connsiteX70" fmla="*/ 648794 w 2292197"/>
                <a:gd name="connsiteY70" fmla="*/ 309247 h 316856"/>
                <a:gd name="connsiteX71" fmla="*/ 599178 w 2292197"/>
                <a:gd name="connsiteY71" fmla="*/ 309247 h 316856"/>
                <a:gd name="connsiteX72" fmla="*/ 596215 w 2292197"/>
                <a:gd name="connsiteY72" fmla="*/ 287624 h 316856"/>
                <a:gd name="connsiteX73" fmla="*/ 594364 w 2292197"/>
                <a:gd name="connsiteY73" fmla="*/ 287251 h 316856"/>
                <a:gd name="connsiteX74" fmla="*/ 538083 w 2292197"/>
                <a:gd name="connsiteY74" fmla="*/ 315212 h 316856"/>
                <a:gd name="connsiteX75" fmla="*/ 457365 w 2292197"/>
                <a:gd name="connsiteY75" fmla="*/ 212314 h 316856"/>
                <a:gd name="connsiteX76" fmla="*/ 568075 w 2292197"/>
                <a:gd name="connsiteY76" fmla="*/ 90402 h 316856"/>
                <a:gd name="connsiteX77" fmla="*/ 353910 w 2292197"/>
                <a:gd name="connsiteY77" fmla="*/ 90402 h 316856"/>
                <a:gd name="connsiteX78" fmla="*/ 423983 w 2292197"/>
                <a:gd name="connsiteY78" fmla="*/ 152060 h 316856"/>
                <a:gd name="connsiteX79" fmla="*/ 308065 w 2292197"/>
                <a:gd name="connsiteY79" fmla="*/ 230534 h 316856"/>
                <a:gd name="connsiteX80" fmla="*/ 356519 w 2292197"/>
                <a:gd name="connsiteY80" fmla="*/ 272013 h 316856"/>
                <a:gd name="connsiteX81" fmla="*/ 409073 w 2292197"/>
                <a:gd name="connsiteY81" fmla="*/ 254076 h 316856"/>
                <a:gd name="connsiteX82" fmla="*/ 425846 w 2292197"/>
                <a:gd name="connsiteY82" fmla="*/ 293313 h 316856"/>
                <a:gd name="connsiteX83" fmla="*/ 349065 w 2292197"/>
                <a:gd name="connsiteY83" fmla="*/ 316855 h 316856"/>
                <a:gd name="connsiteX84" fmla="*/ 249174 w 2292197"/>
                <a:gd name="connsiteY84" fmla="*/ 208487 h 316856"/>
                <a:gd name="connsiteX85" fmla="*/ 353910 w 2292197"/>
                <a:gd name="connsiteY85" fmla="*/ 90402 h 316856"/>
                <a:gd name="connsiteX86" fmla="*/ 2208041 w 2292197"/>
                <a:gd name="connsiteY86" fmla="*/ 90249 h 316856"/>
                <a:gd name="connsiteX87" fmla="*/ 2277182 w 2292197"/>
                <a:gd name="connsiteY87" fmla="*/ 108139 h 316856"/>
                <a:gd name="connsiteX88" fmla="*/ 2277182 w 2292197"/>
                <a:gd name="connsiteY88" fmla="*/ 108512 h 316856"/>
                <a:gd name="connsiteX89" fmla="*/ 2259711 w 2292197"/>
                <a:gd name="connsiteY89" fmla="*/ 148764 h 316856"/>
                <a:gd name="connsiteX90" fmla="*/ 2213245 w 2292197"/>
                <a:gd name="connsiteY90" fmla="*/ 131620 h 316856"/>
                <a:gd name="connsiteX91" fmla="*/ 2189455 w 2292197"/>
                <a:gd name="connsiteY91" fmla="*/ 152119 h 316856"/>
                <a:gd name="connsiteX92" fmla="*/ 2224025 w 2292197"/>
                <a:gd name="connsiteY92" fmla="*/ 177836 h 316856"/>
                <a:gd name="connsiteX93" fmla="*/ 2292050 w 2292197"/>
                <a:gd name="connsiteY93" fmla="*/ 238960 h 316856"/>
                <a:gd name="connsiteX94" fmla="*/ 2214360 w 2292197"/>
                <a:gd name="connsiteY94" fmla="*/ 314993 h 316856"/>
                <a:gd name="connsiteX95" fmla="*/ 2133325 w 2292197"/>
                <a:gd name="connsiteY95" fmla="*/ 297103 h 316856"/>
                <a:gd name="connsiteX96" fmla="*/ 2150796 w 2292197"/>
                <a:gd name="connsiteY96" fmla="*/ 257223 h 316856"/>
                <a:gd name="connsiteX97" fmla="*/ 2208784 w 2292197"/>
                <a:gd name="connsiteY97" fmla="*/ 272504 h 316856"/>
                <a:gd name="connsiteX98" fmla="*/ 2234433 w 2292197"/>
                <a:gd name="connsiteY98" fmla="*/ 249023 h 316856"/>
                <a:gd name="connsiteX99" fmla="*/ 2199863 w 2292197"/>
                <a:gd name="connsiteY99" fmla="*/ 224424 h 316856"/>
                <a:gd name="connsiteX100" fmla="*/ 2133325 w 2292197"/>
                <a:gd name="connsiteY100" fmla="*/ 162555 h 316856"/>
                <a:gd name="connsiteX101" fmla="*/ 2208041 w 2292197"/>
                <a:gd name="connsiteY101" fmla="*/ 90249 h 316856"/>
                <a:gd name="connsiteX102" fmla="*/ 1004892 w 2292197"/>
                <a:gd name="connsiteY102" fmla="*/ 31230 h 316856"/>
                <a:gd name="connsiteX103" fmla="*/ 1063095 w 2292197"/>
                <a:gd name="connsiteY103" fmla="*/ 31230 h 316856"/>
                <a:gd name="connsiteX104" fmla="*/ 1063095 w 2292197"/>
                <a:gd name="connsiteY104" fmla="*/ 112822 h 316856"/>
                <a:gd name="connsiteX105" fmla="*/ 1115736 w 2292197"/>
                <a:gd name="connsiteY105" fmla="*/ 90841 h 316856"/>
                <a:gd name="connsiteX106" fmla="*/ 1183207 w 2292197"/>
                <a:gd name="connsiteY106" fmla="*/ 165727 h 316856"/>
                <a:gd name="connsiteX107" fmla="*/ 1183207 w 2292197"/>
                <a:gd name="connsiteY107" fmla="*/ 310283 h 316856"/>
                <a:gd name="connsiteX108" fmla="*/ 1125004 w 2292197"/>
                <a:gd name="connsiteY108" fmla="*/ 310283 h 316856"/>
                <a:gd name="connsiteX109" fmla="*/ 1125004 w 2292197"/>
                <a:gd name="connsiteY109" fmla="*/ 174668 h 316856"/>
                <a:gd name="connsiteX110" fmla="*/ 1098313 w 2292197"/>
                <a:gd name="connsiteY110" fmla="*/ 136294 h 316856"/>
                <a:gd name="connsiteX111" fmla="*/ 1062353 w 2292197"/>
                <a:gd name="connsiteY111" fmla="*/ 173178 h 316856"/>
                <a:gd name="connsiteX112" fmla="*/ 1062353 w 2292197"/>
                <a:gd name="connsiteY112" fmla="*/ 310283 h 316856"/>
                <a:gd name="connsiteX113" fmla="*/ 1004892 w 2292197"/>
                <a:gd name="connsiteY113" fmla="*/ 310283 h 316856"/>
                <a:gd name="connsiteX114" fmla="*/ 842391 w 2292197"/>
                <a:gd name="connsiteY114" fmla="*/ 31230 h 316856"/>
                <a:gd name="connsiteX115" fmla="*/ 900136 w 2292197"/>
                <a:gd name="connsiteY115" fmla="*/ 31230 h 316856"/>
                <a:gd name="connsiteX116" fmla="*/ 900136 w 2292197"/>
                <a:gd name="connsiteY116" fmla="*/ 97603 h 316856"/>
                <a:gd name="connsiteX117" fmla="*/ 954920 w 2292197"/>
                <a:gd name="connsiteY117" fmla="*/ 97603 h 316856"/>
                <a:gd name="connsiteX118" fmla="*/ 954920 w 2292197"/>
                <a:gd name="connsiteY118" fmla="*/ 143467 h 316856"/>
                <a:gd name="connsiteX119" fmla="*/ 900877 w 2292197"/>
                <a:gd name="connsiteY119" fmla="*/ 143467 h 316856"/>
                <a:gd name="connsiteX120" fmla="*/ 900877 w 2292197"/>
                <a:gd name="connsiteY120" fmla="*/ 238551 h 316856"/>
                <a:gd name="connsiteX121" fmla="*/ 921236 w 2292197"/>
                <a:gd name="connsiteY121" fmla="*/ 270992 h 316856"/>
                <a:gd name="connsiteX122" fmla="*/ 946407 w 2292197"/>
                <a:gd name="connsiteY122" fmla="*/ 264653 h 316856"/>
                <a:gd name="connsiteX123" fmla="*/ 958622 w 2292197"/>
                <a:gd name="connsiteY123" fmla="*/ 303433 h 316856"/>
                <a:gd name="connsiteX124" fmla="*/ 905689 w 2292197"/>
                <a:gd name="connsiteY124" fmla="*/ 316856 h 316856"/>
                <a:gd name="connsiteX125" fmla="*/ 842391 w 2292197"/>
                <a:gd name="connsiteY125" fmla="*/ 247128 h 316856"/>
                <a:gd name="connsiteX126" fmla="*/ 842391 w 2292197"/>
                <a:gd name="connsiteY126" fmla="*/ 143467 h 316856"/>
                <a:gd name="connsiteX127" fmla="*/ 809816 w 2292197"/>
                <a:gd name="connsiteY127" fmla="*/ 143467 h 316856"/>
                <a:gd name="connsiteX128" fmla="*/ 809816 w 2292197"/>
                <a:gd name="connsiteY128" fmla="*/ 97603 h 316856"/>
                <a:gd name="connsiteX129" fmla="*/ 842391 w 2292197"/>
                <a:gd name="connsiteY129" fmla="*/ 97603 h 316856"/>
                <a:gd name="connsiteX130" fmla="*/ 698343 w 2292197"/>
                <a:gd name="connsiteY130" fmla="*/ 31230 h 316856"/>
                <a:gd name="connsiteX131" fmla="*/ 756722 w 2292197"/>
                <a:gd name="connsiteY131" fmla="*/ 31230 h 316856"/>
                <a:gd name="connsiteX132" fmla="*/ 756722 w 2292197"/>
                <a:gd name="connsiteY132" fmla="*/ 238449 h 316856"/>
                <a:gd name="connsiteX133" fmla="*/ 777045 w 2292197"/>
                <a:gd name="connsiteY133" fmla="*/ 270932 h 316856"/>
                <a:gd name="connsiteX134" fmla="*/ 802170 w 2292197"/>
                <a:gd name="connsiteY134" fmla="*/ 264584 h 316856"/>
                <a:gd name="connsiteX135" fmla="*/ 814364 w 2292197"/>
                <a:gd name="connsiteY135" fmla="*/ 303415 h 316856"/>
                <a:gd name="connsiteX136" fmla="*/ 761895 w 2292197"/>
                <a:gd name="connsiteY136" fmla="*/ 316856 h 316856"/>
                <a:gd name="connsiteX137" fmla="*/ 698343 w 2292197"/>
                <a:gd name="connsiteY137" fmla="*/ 247036 h 316856"/>
                <a:gd name="connsiteX138" fmla="*/ 0 w 2292197"/>
                <a:gd name="connsiteY138" fmla="*/ 31230 h 316856"/>
                <a:gd name="connsiteX139" fmla="*/ 59654 w 2292197"/>
                <a:gd name="connsiteY139" fmla="*/ 31230 h 316856"/>
                <a:gd name="connsiteX140" fmla="*/ 59654 w 2292197"/>
                <a:gd name="connsiteY140" fmla="*/ 142255 h 316856"/>
                <a:gd name="connsiteX141" fmla="*/ 145779 w 2292197"/>
                <a:gd name="connsiteY141" fmla="*/ 142255 h 316856"/>
                <a:gd name="connsiteX142" fmla="*/ 145779 w 2292197"/>
                <a:gd name="connsiteY142" fmla="*/ 31230 h 316856"/>
                <a:gd name="connsiteX143" fmla="*/ 206179 w 2292197"/>
                <a:gd name="connsiteY143" fmla="*/ 31230 h 316856"/>
                <a:gd name="connsiteX144" fmla="*/ 206179 w 2292197"/>
                <a:gd name="connsiteY144" fmla="*/ 310283 h 316856"/>
                <a:gd name="connsiteX145" fmla="*/ 145779 w 2292197"/>
                <a:gd name="connsiteY145" fmla="*/ 310283 h 316856"/>
                <a:gd name="connsiteX146" fmla="*/ 145779 w 2292197"/>
                <a:gd name="connsiteY146" fmla="*/ 194787 h 316856"/>
                <a:gd name="connsiteX147" fmla="*/ 59654 w 2292197"/>
                <a:gd name="connsiteY147" fmla="*/ 194787 h 316856"/>
                <a:gd name="connsiteX148" fmla="*/ 59654 w 2292197"/>
                <a:gd name="connsiteY148" fmla="*/ 310283 h 316856"/>
                <a:gd name="connsiteX149" fmla="*/ 0 w 2292197"/>
                <a:gd name="connsiteY149" fmla="*/ 310283 h 316856"/>
                <a:gd name="connsiteX150" fmla="*/ 1262898 w 2292197"/>
                <a:gd name="connsiteY150" fmla="*/ 0 h 316856"/>
                <a:gd name="connsiteX151" fmla="*/ 1294680 w 2292197"/>
                <a:gd name="connsiteY151" fmla="*/ 30408 h 316856"/>
                <a:gd name="connsiteX152" fmla="*/ 1262898 w 2292197"/>
                <a:gd name="connsiteY152" fmla="*/ 60442 h 316856"/>
                <a:gd name="connsiteX153" fmla="*/ 1231116 w 2292197"/>
                <a:gd name="connsiteY153" fmla="*/ 30408 h 316856"/>
                <a:gd name="connsiteX154" fmla="*/ 1262898 w 2292197"/>
                <a:gd name="connsiteY154" fmla="*/ 0 h 316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2292197" h="316856">
                  <a:moveTo>
                    <a:pt x="561040" y="133276"/>
                  </a:moveTo>
                  <a:cubicBezTo>
                    <a:pt x="526975" y="133276"/>
                    <a:pt x="514756" y="167576"/>
                    <a:pt x="514756" y="208959"/>
                  </a:cubicBezTo>
                  <a:cubicBezTo>
                    <a:pt x="514756" y="242885"/>
                    <a:pt x="522532" y="272711"/>
                    <a:pt x="553264" y="272711"/>
                  </a:cubicBezTo>
                  <a:cubicBezTo>
                    <a:pt x="575110" y="272711"/>
                    <a:pt x="587329" y="256680"/>
                    <a:pt x="587329" y="241394"/>
                  </a:cubicBezTo>
                  <a:lnTo>
                    <a:pt x="587329" y="137750"/>
                  </a:lnTo>
                  <a:cubicBezTo>
                    <a:pt x="581775" y="135140"/>
                    <a:pt x="572148" y="133276"/>
                    <a:pt x="561040" y="133276"/>
                  </a:cubicBezTo>
                  <a:close/>
                  <a:moveTo>
                    <a:pt x="1864005" y="131508"/>
                  </a:moveTo>
                  <a:cubicBezTo>
                    <a:pt x="1835677" y="131508"/>
                    <a:pt x="1820768" y="159908"/>
                    <a:pt x="1819277" y="188681"/>
                  </a:cubicBezTo>
                  <a:cubicBezTo>
                    <a:pt x="1846486" y="187934"/>
                    <a:pt x="1885623" y="181208"/>
                    <a:pt x="1885623" y="152434"/>
                  </a:cubicBezTo>
                  <a:cubicBezTo>
                    <a:pt x="1885623" y="139355"/>
                    <a:pt x="1877795" y="131508"/>
                    <a:pt x="1864005" y="131508"/>
                  </a:cubicBezTo>
                  <a:close/>
                  <a:moveTo>
                    <a:pt x="1660732" y="131508"/>
                  </a:moveTo>
                  <a:cubicBezTo>
                    <a:pt x="1632032" y="131508"/>
                    <a:pt x="1617123" y="159908"/>
                    <a:pt x="1615632" y="188681"/>
                  </a:cubicBezTo>
                  <a:cubicBezTo>
                    <a:pt x="1643213" y="187934"/>
                    <a:pt x="1681977" y="181208"/>
                    <a:pt x="1681977" y="152434"/>
                  </a:cubicBezTo>
                  <a:cubicBezTo>
                    <a:pt x="1681977" y="139355"/>
                    <a:pt x="1673777" y="131508"/>
                    <a:pt x="1660732" y="131508"/>
                  </a:cubicBezTo>
                  <a:close/>
                  <a:moveTo>
                    <a:pt x="351674" y="131508"/>
                  </a:moveTo>
                  <a:cubicBezTo>
                    <a:pt x="322974" y="131508"/>
                    <a:pt x="308065" y="159908"/>
                    <a:pt x="306574" y="188681"/>
                  </a:cubicBezTo>
                  <a:cubicBezTo>
                    <a:pt x="334155" y="187934"/>
                    <a:pt x="372919" y="181208"/>
                    <a:pt x="372919" y="152434"/>
                  </a:cubicBezTo>
                  <a:cubicBezTo>
                    <a:pt x="372919" y="139355"/>
                    <a:pt x="364719" y="131508"/>
                    <a:pt x="351674" y="131508"/>
                  </a:cubicBezTo>
                  <a:close/>
                  <a:moveTo>
                    <a:pt x="1234395" y="96976"/>
                  </a:moveTo>
                  <a:lnTo>
                    <a:pt x="1293037" y="96976"/>
                  </a:lnTo>
                  <a:lnTo>
                    <a:pt x="1293037" y="310280"/>
                  </a:lnTo>
                  <a:lnTo>
                    <a:pt x="1263529" y="310280"/>
                  </a:lnTo>
                  <a:lnTo>
                    <a:pt x="1234395" y="310280"/>
                  </a:lnTo>
                  <a:close/>
                  <a:moveTo>
                    <a:pt x="2081174" y="90402"/>
                  </a:moveTo>
                  <a:cubicBezTo>
                    <a:pt x="2093389" y="90402"/>
                    <a:pt x="2105975" y="92261"/>
                    <a:pt x="2115969" y="97838"/>
                  </a:cubicBezTo>
                  <a:lnTo>
                    <a:pt x="2105604" y="148028"/>
                  </a:lnTo>
                  <a:cubicBezTo>
                    <a:pt x="2096721" y="143567"/>
                    <a:pt x="2086726" y="140593"/>
                    <a:pt x="2075991" y="140593"/>
                  </a:cubicBezTo>
                  <a:cubicBezTo>
                    <a:pt x="2054892" y="140593"/>
                    <a:pt x="2041566" y="154720"/>
                    <a:pt x="2040826" y="176656"/>
                  </a:cubicBezTo>
                  <a:lnTo>
                    <a:pt x="2040826" y="308638"/>
                  </a:lnTo>
                  <a:lnTo>
                    <a:pt x="1982710" y="308638"/>
                  </a:lnTo>
                  <a:lnTo>
                    <a:pt x="1982710" y="133157"/>
                  </a:lnTo>
                  <a:lnTo>
                    <a:pt x="1978638" y="96351"/>
                  </a:lnTo>
                  <a:lnTo>
                    <a:pt x="2025649" y="96351"/>
                  </a:lnTo>
                  <a:lnTo>
                    <a:pt x="2031202" y="126837"/>
                  </a:lnTo>
                  <a:cubicBezTo>
                    <a:pt x="2041196" y="102299"/>
                    <a:pt x="2061555" y="90402"/>
                    <a:pt x="2081174" y="90402"/>
                  </a:cubicBezTo>
                  <a:close/>
                  <a:moveTo>
                    <a:pt x="1866986" y="90402"/>
                  </a:moveTo>
                  <a:cubicBezTo>
                    <a:pt x="1909477" y="90402"/>
                    <a:pt x="1937059" y="111702"/>
                    <a:pt x="1937059" y="152060"/>
                  </a:cubicBezTo>
                  <a:cubicBezTo>
                    <a:pt x="1937059" y="215213"/>
                    <a:pt x="1872577" y="227545"/>
                    <a:pt x="1821141" y="230534"/>
                  </a:cubicBezTo>
                  <a:cubicBezTo>
                    <a:pt x="1824123" y="250713"/>
                    <a:pt x="1837541" y="272013"/>
                    <a:pt x="1869595" y="272013"/>
                  </a:cubicBezTo>
                  <a:cubicBezTo>
                    <a:pt x="1891959" y="272013"/>
                    <a:pt x="1910223" y="262297"/>
                    <a:pt x="1922150" y="254076"/>
                  </a:cubicBezTo>
                  <a:lnTo>
                    <a:pt x="1938923" y="293313"/>
                  </a:lnTo>
                  <a:cubicBezTo>
                    <a:pt x="1934077" y="297050"/>
                    <a:pt x="1904632" y="316855"/>
                    <a:pt x="1862141" y="316855"/>
                  </a:cubicBezTo>
                  <a:cubicBezTo>
                    <a:pt x="1790577" y="316855"/>
                    <a:pt x="1762250" y="271640"/>
                    <a:pt x="1762250" y="208487"/>
                  </a:cubicBezTo>
                  <a:cubicBezTo>
                    <a:pt x="1762250" y="146829"/>
                    <a:pt x="1798405" y="90402"/>
                    <a:pt x="1866986" y="90402"/>
                  </a:cubicBezTo>
                  <a:close/>
                  <a:moveTo>
                    <a:pt x="1663713" y="90402"/>
                  </a:moveTo>
                  <a:cubicBezTo>
                    <a:pt x="1706204" y="90402"/>
                    <a:pt x="1733413" y="111702"/>
                    <a:pt x="1733413" y="152060"/>
                  </a:cubicBezTo>
                  <a:cubicBezTo>
                    <a:pt x="1733413" y="215213"/>
                    <a:pt x="1669304" y="227545"/>
                    <a:pt x="1617868" y="230534"/>
                  </a:cubicBezTo>
                  <a:cubicBezTo>
                    <a:pt x="1620850" y="250713"/>
                    <a:pt x="1634268" y="272013"/>
                    <a:pt x="1666322" y="272013"/>
                  </a:cubicBezTo>
                  <a:cubicBezTo>
                    <a:pt x="1688686" y="272013"/>
                    <a:pt x="1706577" y="262297"/>
                    <a:pt x="1718504" y="254076"/>
                  </a:cubicBezTo>
                  <a:lnTo>
                    <a:pt x="1735650" y="293313"/>
                  </a:lnTo>
                  <a:cubicBezTo>
                    <a:pt x="1730431" y="297050"/>
                    <a:pt x="1700986" y="316855"/>
                    <a:pt x="1658495" y="316855"/>
                  </a:cubicBezTo>
                  <a:cubicBezTo>
                    <a:pt x="1587304" y="316855"/>
                    <a:pt x="1558977" y="271640"/>
                    <a:pt x="1558977" y="208487"/>
                  </a:cubicBezTo>
                  <a:cubicBezTo>
                    <a:pt x="1558977" y="146829"/>
                    <a:pt x="1594759" y="90402"/>
                    <a:pt x="1663713" y="90402"/>
                  </a:cubicBezTo>
                  <a:close/>
                  <a:moveTo>
                    <a:pt x="1457145" y="90402"/>
                  </a:moveTo>
                  <a:cubicBezTo>
                    <a:pt x="1498483" y="90402"/>
                    <a:pt x="1524180" y="113824"/>
                    <a:pt x="1524180" y="164015"/>
                  </a:cubicBezTo>
                  <a:lnTo>
                    <a:pt x="1524180" y="308638"/>
                  </a:lnTo>
                  <a:lnTo>
                    <a:pt x="1465710" y="308638"/>
                  </a:lnTo>
                  <a:lnTo>
                    <a:pt x="1465710" y="174797"/>
                  </a:lnTo>
                  <a:cubicBezTo>
                    <a:pt x="1465710" y="152118"/>
                    <a:pt x="1462358" y="134644"/>
                    <a:pt x="1439641" y="134644"/>
                  </a:cubicBezTo>
                  <a:cubicBezTo>
                    <a:pt x="1417668" y="134644"/>
                    <a:pt x="1403516" y="152490"/>
                    <a:pt x="1403516" y="172566"/>
                  </a:cubicBezTo>
                  <a:lnTo>
                    <a:pt x="1403516" y="308638"/>
                  </a:lnTo>
                  <a:lnTo>
                    <a:pt x="1345047" y="308638"/>
                  </a:lnTo>
                  <a:lnTo>
                    <a:pt x="1345047" y="135760"/>
                  </a:lnTo>
                  <a:lnTo>
                    <a:pt x="1340950" y="96351"/>
                  </a:lnTo>
                  <a:lnTo>
                    <a:pt x="1389737" y="96351"/>
                  </a:lnTo>
                  <a:lnTo>
                    <a:pt x="1393834" y="121632"/>
                  </a:lnTo>
                  <a:cubicBezTo>
                    <a:pt x="1407985" y="102299"/>
                    <a:pt x="1429213" y="90402"/>
                    <a:pt x="1457145" y="90402"/>
                  </a:cubicBezTo>
                  <a:close/>
                  <a:moveTo>
                    <a:pt x="568075" y="90402"/>
                  </a:moveTo>
                  <a:cubicBezTo>
                    <a:pt x="582516" y="90402"/>
                    <a:pt x="613248" y="93758"/>
                    <a:pt x="644721" y="105688"/>
                  </a:cubicBezTo>
                  <a:lnTo>
                    <a:pt x="644721" y="266746"/>
                  </a:lnTo>
                  <a:lnTo>
                    <a:pt x="648794" y="309247"/>
                  </a:lnTo>
                  <a:lnTo>
                    <a:pt x="599178" y="309247"/>
                  </a:lnTo>
                  <a:lnTo>
                    <a:pt x="596215" y="287624"/>
                  </a:lnTo>
                  <a:lnTo>
                    <a:pt x="594364" y="287251"/>
                  </a:lnTo>
                  <a:cubicBezTo>
                    <a:pt x="581775" y="306637"/>
                    <a:pt x="560670" y="315212"/>
                    <a:pt x="538083" y="315212"/>
                  </a:cubicBezTo>
                  <a:cubicBezTo>
                    <a:pt x="477730" y="315212"/>
                    <a:pt x="457365" y="269356"/>
                    <a:pt x="457365" y="212314"/>
                  </a:cubicBezTo>
                  <a:cubicBezTo>
                    <a:pt x="457365" y="138869"/>
                    <a:pt x="494021" y="90402"/>
                    <a:pt x="568075" y="90402"/>
                  </a:cubicBezTo>
                  <a:close/>
                  <a:moveTo>
                    <a:pt x="353910" y="90402"/>
                  </a:moveTo>
                  <a:cubicBezTo>
                    <a:pt x="396401" y="90402"/>
                    <a:pt x="423983" y="111702"/>
                    <a:pt x="423983" y="152060"/>
                  </a:cubicBezTo>
                  <a:cubicBezTo>
                    <a:pt x="423983" y="215213"/>
                    <a:pt x="360246" y="227545"/>
                    <a:pt x="308065" y="230534"/>
                  </a:cubicBezTo>
                  <a:cubicBezTo>
                    <a:pt x="311046" y="250713"/>
                    <a:pt x="324465" y="272013"/>
                    <a:pt x="356519" y="272013"/>
                  </a:cubicBezTo>
                  <a:cubicBezTo>
                    <a:pt x="378883" y="272013"/>
                    <a:pt x="397146" y="262297"/>
                    <a:pt x="409073" y="254076"/>
                  </a:cubicBezTo>
                  <a:lnTo>
                    <a:pt x="425846" y="293313"/>
                  </a:lnTo>
                  <a:cubicBezTo>
                    <a:pt x="421001" y="297050"/>
                    <a:pt x="391555" y="316855"/>
                    <a:pt x="349065" y="316855"/>
                  </a:cubicBezTo>
                  <a:cubicBezTo>
                    <a:pt x="277501" y="316855"/>
                    <a:pt x="249174" y="271640"/>
                    <a:pt x="249174" y="208487"/>
                  </a:cubicBezTo>
                  <a:cubicBezTo>
                    <a:pt x="249174" y="146829"/>
                    <a:pt x="285328" y="90402"/>
                    <a:pt x="353910" y="90402"/>
                  </a:cubicBezTo>
                  <a:close/>
                  <a:moveTo>
                    <a:pt x="2208041" y="90249"/>
                  </a:moveTo>
                  <a:cubicBezTo>
                    <a:pt x="2234433" y="88758"/>
                    <a:pt x="2258595" y="96212"/>
                    <a:pt x="2277182" y="108139"/>
                  </a:cubicBezTo>
                  <a:lnTo>
                    <a:pt x="2277182" y="108512"/>
                  </a:lnTo>
                  <a:lnTo>
                    <a:pt x="2259711" y="148764"/>
                  </a:lnTo>
                  <a:cubicBezTo>
                    <a:pt x="2243355" y="137210"/>
                    <a:pt x="2227742" y="131247"/>
                    <a:pt x="2213245" y="131620"/>
                  </a:cubicBezTo>
                  <a:cubicBezTo>
                    <a:pt x="2199863" y="131992"/>
                    <a:pt x="2189083" y="137956"/>
                    <a:pt x="2189455" y="152119"/>
                  </a:cubicBezTo>
                  <a:cubicBezTo>
                    <a:pt x="2190570" y="168518"/>
                    <a:pt x="2205067" y="172618"/>
                    <a:pt x="2224025" y="177836"/>
                  </a:cubicBezTo>
                  <a:cubicBezTo>
                    <a:pt x="2254878" y="185663"/>
                    <a:pt x="2289448" y="194980"/>
                    <a:pt x="2292050" y="238960"/>
                  </a:cubicBezTo>
                  <a:cubicBezTo>
                    <a:pt x="2294653" y="287040"/>
                    <a:pt x="2262684" y="312384"/>
                    <a:pt x="2214360" y="314993"/>
                  </a:cubicBezTo>
                  <a:cubicBezTo>
                    <a:pt x="2177188" y="316856"/>
                    <a:pt x="2145591" y="304930"/>
                    <a:pt x="2133325" y="297103"/>
                  </a:cubicBezTo>
                  <a:lnTo>
                    <a:pt x="2150796" y="257223"/>
                  </a:lnTo>
                  <a:cubicBezTo>
                    <a:pt x="2166036" y="265050"/>
                    <a:pt x="2189827" y="273622"/>
                    <a:pt x="2208784" y="272504"/>
                  </a:cubicBezTo>
                  <a:cubicBezTo>
                    <a:pt x="2224397" y="272131"/>
                    <a:pt x="2235177" y="265050"/>
                    <a:pt x="2234433" y="249023"/>
                  </a:cubicBezTo>
                  <a:cubicBezTo>
                    <a:pt x="2233318" y="232624"/>
                    <a:pt x="2218449" y="229270"/>
                    <a:pt x="2199863" y="224424"/>
                  </a:cubicBezTo>
                  <a:cubicBezTo>
                    <a:pt x="2167895" y="216970"/>
                    <a:pt x="2135927" y="206534"/>
                    <a:pt x="2133325" y="162555"/>
                  </a:cubicBezTo>
                  <a:cubicBezTo>
                    <a:pt x="2131094" y="118202"/>
                    <a:pt x="2164549" y="92858"/>
                    <a:pt x="2208041" y="90249"/>
                  </a:cubicBezTo>
                  <a:close/>
                  <a:moveTo>
                    <a:pt x="1004892" y="31230"/>
                  </a:moveTo>
                  <a:lnTo>
                    <a:pt x="1063095" y="31230"/>
                  </a:lnTo>
                  <a:lnTo>
                    <a:pt x="1063095" y="112822"/>
                  </a:lnTo>
                  <a:cubicBezTo>
                    <a:pt x="1076440" y="98665"/>
                    <a:pt x="1095347" y="90841"/>
                    <a:pt x="1115736" y="90841"/>
                  </a:cubicBezTo>
                  <a:cubicBezTo>
                    <a:pt x="1159481" y="90841"/>
                    <a:pt x="1183207" y="115803"/>
                    <a:pt x="1183207" y="165727"/>
                  </a:cubicBezTo>
                  <a:lnTo>
                    <a:pt x="1183207" y="310283"/>
                  </a:lnTo>
                  <a:lnTo>
                    <a:pt x="1125004" y="310283"/>
                  </a:lnTo>
                  <a:lnTo>
                    <a:pt x="1125004" y="174668"/>
                  </a:lnTo>
                  <a:cubicBezTo>
                    <a:pt x="1125004" y="153432"/>
                    <a:pt x="1120556" y="136294"/>
                    <a:pt x="1098313" y="136294"/>
                  </a:cubicBezTo>
                  <a:cubicBezTo>
                    <a:pt x="1076811" y="136294"/>
                    <a:pt x="1062353" y="153432"/>
                    <a:pt x="1062353" y="173178"/>
                  </a:cubicBezTo>
                  <a:lnTo>
                    <a:pt x="1062353" y="310283"/>
                  </a:lnTo>
                  <a:lnTo>
                    <a:pt x="1004892" y="310283"/>
                  </a:lnTo>
                  <a:close/>
                  <a:moveTo>
                    <a:pt x="842391" y="31230"/>
                  </a:moveTo>
                  <a:lnTo>
                    <a:pt x="900136" y="31230"/>
                  </a:lnTo>
                  <a:lnTo>
                    <a:pt x="900136" y="97603"/>
                  </a:lnTo>
                  <a:lnTo>
                    <a:pt x="954920" y="97603"/>
                  </a:lnTo>
                  <a:lnTo>
                    <a:pt x="954920" y="143467"/>
                  </a:lnTo>
                  <a:lnTo>
                    <a:pt x="900877" y="143467"/>
                  </a:lnTo>
                  <a:lnTo>
                    <a:pt x="900877" y="238551"/>
                  </a:lnTo>
                  <a:cubicBezTo>
                    <a:pt x="900877" y="261670"/>
                    <a:pt x="905689" y="270992"/>
                    <a:pt x="921236" y="270992"/>
                  </a:cubicBezTo>
                  <a:cubicBezTo>
                    <a:pt x="928639" y="270992"/>
                    <a:pt x="936782" y="268382"/>
                    <a:pt x="946407" y="264653"/>
                  </a:cubicBezTo>
                  <a:lnTo>
                    <a:pt x="958622" y="303433"/>
                  </a:lnTo>
                  <a:cubicBezTo>
                    <a:pt x="946407" y="311636"/>
                    <a:pt x="924197" y="316856"/>
                    <a:pt x="905689" y="316856"/>
                  </a:cubicBezTo>
                  <a:cubicBezTo>
                    <a:pt x="845722" y="316856"/>
                    <a:pt x="842391" y="282551"/>
                    <a:pt x="842391" y="247128"/>
                  </a:cubicBezTo>
                  <a:lnTo>
                    <a:pt x="842391" y="143467"/>
                  </a:lnTo>
                  <a:lnTo>
                    <a:pt x="809816" y="143467"/>
                  </a:lnTo>
                  <a:lnTo>
                    <a:pt x="809816" y="97603"/>
                  </a:lnTo>
                  <a:lnTo>
                    <a:pt x="842391" y="97603"/>
                  </a:lnTo>
                  <a:close/>
                  <a:moveTo>
                    <a:pt x="698343" y="31230"/>
                  </a:moveTo>
                  <a:lnTo>
                    <a:pt x="756722" y="31230"/>
                  </a:lnTo>
                  <a:lnTo>
                    <a:pt x="756722" y="238449"/>
                  </a:lnTo>
                  <a:cubicBezTo>
                    <a:pt x="756722" y="261597"/>
                    <a:pt x="761895" y="270932"/>
                    <a:pt x="777045" y="270932"/>
                  </a:cubicBezTo>
                  <a:cubicBezTo>
                    <a:pt x="784434" y="270932"/>
                    <a:pt x="792563" y="268318"/>
                    <a:pt x="802170" y="264584"/>
                  </a:cubicBezTo>
                  <a:lnTo>
                    <a:pt x="814364" y="303415"/>
                  </a:lnTo>
                  <a:cubicBezTo>
                    <a:pt x="802170" y="311629"/>
                    <a:pt x="780000" y="316856"/>
                    <a:pt x="761895" y="316856"/>
                  </a:cubicBezTo>
                  <a:cubicBezTo>
                    <a:pt x="702038" y="316856"/>
                    <a:pt x="698343" y="282506"/>
                    <a:pt x="698343" y="247036"/>
                  </a:cubicBezTo>
                  <a:close/>
                  <a:moveTo>
                    <a:pt x="0" y="31230"/>
                  </a:moveTo>
                  <a:lnTo>
                    <a:pt x="59654" y="31230"/>
                  </a:lnTo>
                  <a:lnTo>
                    <a:pt x="59654" y="142255"/>
                  </a:lnTo>
                  <a:lnTo>
                    <a:pt x="145779" y="142255"/>
                  </a:lnTo>
                  <a:lnTo>
                    <a:pt x="145779" y="31230"/>
                  </a:lnTo>
                  <a:lnTo>
                    <a:pt x="206179" y="31230"/>
                  </a:lnTo>
                  <a:lnTo>
                    <a:pt x="206179" y="310283"/>
                  </a:lnTo>
                  <a:lnTo>
                    <a:pt x="145779" y="310283"/>
                  </a:lnTo>
                  <a:lnTo>
                    <a:pt x="145779" y="194787"/>
                  </a:lnTo>
                  <a:lnTo>
                    <a:pt x="59654" y="194787"/>
                  </a:lnTo>
                  <a:lnTo>
                    <a:pt x="59654" y="310283"/>
                  </a:lnTo>
                  <a:lnTo>
                    <a:pt x="0" y="310283"/>
                  </a:lnTo>
                  <a:close/>
                  <a:moveTo>
                    <a:pt x="1262898" y="0"/>
                  </a:moveTo>
                  <a:cubicBezTo>
                    <a:pt x="1281745" y="0"/>
                    <a:pt x="1294680" y="13890"/>
                    <a:pt x="1294680" y="30408"/>
                  </a:cubicBezTo>
                  <a:cubicBezTo>
                    <a:pt x="1294680" y="48053"/>
                    <a:pt x="1281745" y="60442"/>
                    <a:pt x="1262898" y="60442"/>
                  </a:cubicBezTo>
                  <a:cubicBezTo>
                    <a:pt x="1243681" y="60442"/>
                    <a:pt x="1231116" y="48053"/>
                    <a:pt x="1231116" y="30408"/>
                  </a:cubicBezTo>
                  <a:cubicBezTo>
                    <a:pt x="1231116" y="13890"/>
                    <a:pt x="1244051" y="0"/>
                    <a:pt x="1262898" y="0"/>
                  </a:cubicBezTo>
                  <a:close/>
                </a:path>
              </a:pathLst>
            </a:custGeom>
            <a:solidFill>
              <a:srgbClr val="EC6602"/>
            </a:solidFill>
            <a:ln w="9525" cap="flat">
              <a:noFill/>
              <a:bevel/>
              <a:headEnd/>
              <a:tailEnd/>
            </a:ln>
            <a:effectLst/>
          </p:spPr>
          <p:txBody>
            <a:bodyPr wrap="square" anchor="ctr">
              <a:prstTxWarp prst="textNoShape">
                <a:avLst/>
              </a:prstTxWarp>
              <a:noAutofit/>
            </a:bodyPr>
            <a:lstStyle/>
            <a:p>
              <a:pPr marL="0" marR="0" lvl="0" indent="0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"/>
                <a:cs typeface="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482601" y="216377"/>
            <a:ext cx="9144000" cy="49244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troduction/Table of contents</a:t>
            </a:r>
            <a:r>
              <a:rPr lang="en-US" noProof="0" dirty="0"/>
              <a:t>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17154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5275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Picture 1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" name="Picture 3" descr="C:\Users\z000cq2y\Desktop\NewB\12 top Applivations\Title1.jp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1588"/>
            <a:ext cx="12198349" cy="6307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uppieren 1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43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44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45" name="Freihandform 44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77" name="Freihandform 76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78" name="Freihandform 77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10" name="Abgerundetes Rechteck 42"/>
          <p:cNvSpPr/>
          <p:nvPr userDrawn="1"/>
        </p:nvSpPr>
        <p:spPr>
          <a:xfrm>
            <a:off x="12649206" y="1627003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Image</a:t>
            </a:r>
            <a:r>
              <a:rPr lang="en-US" sz="1100" dirty="0">
                <a:solidFill>
                  <a:srgbClr val="2D1E1C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must be exchanged on the slide master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482601" y="215676"/>
            <a:ext cx="91440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hapter or Content page – single large image</a:t>
            </a:r>
            <a:br>
              <a:rPr lang="en-US" dirty="0"/>
            </a:br>
            <a:r>
              <a:rPr lang="en-US" dirty="0"/>
              <a:t>Headline, Calibri Bold, 3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05408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Oran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26295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Picture 1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>
          <a:xfrm>
            <a:off x="0" y="0"/>
            <a:ext cx="12198350" cy="63087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5098" y="1139934"/>
            <a:ext cx="5225574" cy="5139875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 userDrawn="1">
            <p:ph type="title" hasCustomPrompt="1"/>
          </p:nvPr>
        </p:nvSpPr>
        <p:spPr>
          <a:xfrm>
            <a:off x="482601" y="2562860"/>
            <a:ext cx="9144000" cy="1477328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title headline,  </a:t>
            </a:r>
            <a:br>
              <a:rPr lang="en-US" dirty="0"/>
            </a:br>
            <a:r>
              <a:rPr lang="en-US" dirty="0"/>
              <a:t>Calibri Bold, 4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6" name="Gruppieren 5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170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171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172" name="Freihandform 171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173" name="Freihandform 172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174" name="Freihandform 173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88725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27121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Picture 1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482601" y="2562860"/>
            <a:ext cx="9144000" cy="1477328"/>
          </a:xfrm>
        </p:spPr>
        <p:txBody>
          <a:bodyPr/>
          <a:lstStyle>
            <a:lvl1pPr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title headline,  </a:t>
            </a:r>
            <a:br>
              <a:rPr lang="en-US" dirty="0"/>
            </a:br>
            <a:r>
              <a:rPr lang="en-US" dirty="0"/>
              <a:t>Calibri Bold, 48 </a:t>
            </a:r>
            <a:r>
              <a:rPr lang="en-US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29354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9961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2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hteck 45"/>
          <p:cNvSpPr/>
          <p:nvPr userDrawn="1"/>
        </p:nvSpPr>
        <p:spPr>
          <a:xfrm>
            <a:off x="0" y="0"/>
            <a:ext cx="12198350" cy="6308725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599" y="1630363"/>
            <a:ext cx="11160125" cy="2308324"/>
          </a:xfrm>
        </p:spPr>
        <p:txBody>
          <a:bodyPr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Subhead, Calibri, 2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4" name="Textplatzhalter 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82600" y="6597650"/>
            <a:ext cx="5508625" cy="153888"/>
          </a:xfrm>
        </p:spPr>
        <p:txBody>
          <a:bodyPr wrap="square" anchor="b">
            <a:spAutoFit/>
          </a:bodyPr>
          <a:lstStyle>
            <a:lvl1pPr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" name="Gruppieren 2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47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49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50" name="Freihandform 49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51" name="Freihandform 50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52" name="Freihandform 51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18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19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0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5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26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6786740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983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hteck 45"/>
          <p:cNvSpPr/>
          <p:nvPr userDrawn="1"/>
        </p:nvSpPr>
        <p:spPr>
          <a:xfrm>
            <a:off x="0" y="0"/>
            <a:ext cx="12198350" cy="6308725"/>
          </a:xfrm>
          <a:prstGeom prst="rect">
            <a:avLst/>
          </a:prstGeom>
          <a:solidFill>
            <a:srgbClr val="E1C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599" y="1630363"/>
            <a:ext cx="11160125" cy="2308324"/>
          </a:xfrm>
        </p:spPr>
        <p:txBody>
          <a:bodyPr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Subhead, Calibri, 2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4" name="Textplatzhalter 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82600" y="6597650"/>
            <a:ext cx="5508625" cy="153888"/>
          </a:xfrm>
        </p:spPr>
        <p:txBody>
          <a:bodyPr wrap="square" anchor="b">
            <a:spAutoFit/>
          </a:bodyPr>
          <a:lstStyle>
            <a:lvl1pPr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" name="Gruppieren 2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47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49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50" name="Freihandform 49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51" name="Freihandform 50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52" name="Freihandform 51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18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19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0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5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26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450167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95570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hteck 45"/>
          <p:cNvSpPr/>
          <p:nvPr userDrawn="1"/>
        </p:nvSpPr>
        <p:spPr>
          <a:xfrm>
            <a:off x="0" y="0"/>
            <a:ext cx="12198350" cy="6308725"/>
          </a:xfrm>
          <a:prstGeom prst="rect">
            <a:avLst/>
          </a:prstGeom>
          <a:solidFill>
            <a:srgbClr val="C8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599" y="1630363"/>
            <a:ext cx="11160125" cy="2308324"/>
          </a:xfrm>
        </p:spPr>
        <p:txBody>
          <a:bodyPr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Subhead, Calibri, 2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4" name="Textplatzhalter 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82600" y="6597650"/>
            <a:ext cx="5508625" cy="153888"/>
          </a:xfrm>
        </p:spPr>
        <p:txBody>
          <a:bodyPr wrap="square" anchor="b">
            <a:spAutoFit/>
          </a:bodyPr>
          <a:lstStyle>
            <a:lvl1pPr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" name="Gruppieren 2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47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49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50" name="Freihandform 49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51" name="Freihandform 50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52" name="Freihandform 51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18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19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0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5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26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031696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9360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hteck 45"/>
          <p:cNvSpPr/>
          <p:nvPr userDrawn="1"/>
        </p:nvSpPr>
        <p:spPr>
          <a:xfrm>
            <a:off x="0" y="0"/>
            <a:ext cx="12198350" cy="6308725"/>
          </a:xfrm>
          <a:prstGeom prst="rect">
            <a:avLst/>
          </a:prstGeom>
          <a:solidFill>
            <a:srgbClr val="D5D2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599" y="1630363"/>
            <a:ext cx="11160125" cy="2308324"/>
          </a:xfrm>
        </p:spPr>
        <p:txBody>
          <a:bodyPr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Subhead, Calibri, 2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4" name="Textplatzhalter 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82600" y="6597650"/>
            <a:ext cx="5508625" cy="153888"/>
          </a:xfrm>
        </p:spPr>
        <p:txBody>
          <a:bodyPr wrap="square" anchor="b">
            <a:spAutoFit/>
          </a:bodyPr>
          <a:lstStyle>
            <a:lvl1pPr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" name="Gruppieren 2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47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49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50" name="Freihandform 49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51" name="Freihandform 50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52" name="Freihandform 51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18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19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0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5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26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707400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613" y="4408488"/>
            <a:ext cx="10367962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613" y="2906713"/>
            <a:ext cx="10367962" cy="1501775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wo Text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2600" y="1630363"/>
            <a:ext cx="5508625" cy="1846659"/>
          </a:xfrm>
        </p:spPr>
        <p:txBody>
          <a:bodyPr wrap="square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134100" y="1630363"/>
            <a:ext cx="5508625" cy="1846659"/>
          </a:xfrm>
        </p:spPr>
        <p:txBody>
          <a:bodyPr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11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12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14" name="Gruppieren 11"/>
            <p:cNvGrpSpPr/>
            <p:nvPr userDrawn="1">
              <p:custDataLst>
                <p:tags r:id="rId2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15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20" name="Picture 20"/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552029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wo Text Boxes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7363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1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hteck 42"/>
          <p:cNvSpPr/>
          <p:nvPr userDrawn="1"/>
        </p:nvSpPr>
        <p:spPr>
          <a:xfrm>
            <a:off x="0" y="0"/>
            <a:ext cx="12198350" cy="6308725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0" y="1630363"/>
            <a:ext cx="5508625" cy="1846659"/>
          </a:xfrm>
        </p:spPr>
        <p:txBody>
          <a:bodyPr wrap="square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134100" y="1630363"/>
            <a:ext cx="5508625" cy="1846659"/>
          </a:xfrm>
        </p:spPr>
        <p:txBody>
          <a:bodyPr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7" name="Textplatzhalt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49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50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51" name="Freihandform 50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52" name="Freihandform 51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53" name="Freihandform 52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19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0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1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6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27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242243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wo Text Boxes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7061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hteck 42"/>
          <p:cNvSpPr/>
          <p:nvPr userDrawn="1"/>
        </p:nvSpPr>
        <p:spPr>
          <a:xfrm>
            <a:off x="0" y="0"/>
            <a:ext cx="12198350" cy="6308725"/>
          </a:xfrm>
          <a:prstGeom prst="rect">
            <a:avLst/>
          </a:prstGeom>
          <a:solidFill>
            <a:srgbClr val="E1C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0" y="1630363"/>
            <a:ext cx="5508625" cy="1846659"/>
          </a:xfrm>
        </p:spPr>
        <p:txBody>
          <a:bodyPr wrap="square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134100" y="1630363"/>
            <a:ext cx="5508625" cy="1846659"/>
          </a:xfrm>
        </p:spPr>
        <p:txBody>
          <a:bodyPr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7" name="Textplatzhalt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49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50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51" name="Freihandform 50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52" name="Freihandform 51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53" name="Freihandform 52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19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0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1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6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27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42881387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wo Text Boxes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34126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hteck 42"/>
          <p:cNvSpPr/>
          <p:nvPr userDrawn="1"/>
        </p:nvSpPr>
        <p:spPr>
          <a:xfrm>
            <a:off x="0" y="0"/>
            <a:ext cx="12198350" cy="6308725"/>
          </a:xfrm>
          <a:prstGeom prst="rect">
            <a:avLst/>
          </a:prstGeom>
          <a:solidFill>
            <a:srgbClr val="C8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0" y="1630363"/>
            <a:ext cx="5508625" cy="1846659"/>
          </a:xfrm>
        </p:spPr>
        <p:txBody>
          <a:bodyPr wrap="square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134100" y="1630363"/>
            <a:ext cx="5508625" cy="1846659"/>
          </a:xfrm>
        </p:spPr>
        <p:txBody>
          <a:bodyPr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7" name="Textplatzhalt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49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50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51" name="Freihandform 50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52" name="Freihandform 51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53" name="Freihandform 52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19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0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1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6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27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7706686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wo Text Boxes 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67291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hteck 42"/>
          <p:cNvSpPr/>
          <p:nvPr userDrawn="1"/>
        </p:nvSpPr>
        <p:spPr>
          <a:xfrm>
            <a:off x="0" y="0"/>
            <a:ext cx="12198350" cy="6308725"/>
          </a:xfrm>
          <a:prstGeom prst="rect">
            <a:avLst/>
          </a:prstGeom>
          <a:solidFill>
            <a:srgbClr val="D5D2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0" y="1630363"/>
            <a:ext cx="5508625" cy="1846659"/>
          </a:xfrm>
        </p:spPr>
        <p:txBody>
          <a:bodyPr wrap="square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134100" y="1630363"/>
            <a:ext cx="5508625" cy="1846659"/>
          </a:xfrm>
        </p:spPr>
        <p:txBody>
          <a:bodyPr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7" name="Textplatzhalt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49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50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51" name="Freihandform 50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52" name="Freihandform 51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53" name="Freihandform 52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19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0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1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6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27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40728030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ext and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2601" y="1630363"/>
            <a:ext cx="5508624" cy="1846659"/>
          </a:xfrm>
        </p:spPr>
        <p:txBody>
          <a:bodyPr wrap="square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134100" y="1630363"/>
            <a:ext cx="5508625" cy="4678362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7" name="Abgerundetes Rechteck 42"/>
          <p:cNvSpPr/>
          <p:nvPr userDrawn="1"/>
        </p:nvSpPr>
        <p:spPr>
          <a:xfrm>
            <a:off x="12649206" y="6103753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72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For changing images, please delete them and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insert a new one over click</a:t>
            </a:r>
            <a:r>
              <a:rPr lang="en-US" sz="1100" b="1" baseline="0" dirty="0">
                <a:solidFill>
                  <a:schemeClr val="bg1"/>
                </a:solidFill>
                <a:latin typeface="+mn-lt"/>
              </a:rPr>
              <a:t> insert icon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2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14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15" name="Gruppieren 11"/>
            <p:cNvGrpSpPr/>
            <p:nvPr userDrawn="1">
              <p:custDataLst>
                <p:tags r:id="rId2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16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22" name="Picture 20"/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8602328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ext and Pict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31551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1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hteck 42"/>
          <p:cNvSpPr/>
          <p:nvPr userDrawn="1"/>
        </p:nvSpPr>
        <p:spPr>
          <a:xfrm>
            <a:off x="0" y="0"/>
            <a:ext cx="12198350" cy="6308725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0" y="1630363"/>
            <a:ext cx="5508625" cy="1846659"/>
          </a:xfrm>
        </p:spPr>
        <p:txBody>
          <a:bodyPr wrap="square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  <a:lvl2pPr>
              <a:defRPr sz="2000" b="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6134100" y="1630363"/>
            <a:ext cx="5508625" cy="4529137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78" name="Textplatzhalt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80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81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82" name="Freihandform 81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83" name="Freihandform 82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84" name="Freihandform 83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2" name="Abgerundetes Rechteck 42"/>
          <p:cNvSpPr/>
          <p:nvPr userDrawn="1"/>
        </p:nvSpPr>
        <p:spPr>
          <a:xfrm>
            <a:off x="12649206" y="6103753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72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For changing images, please delete them and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insert a new one over click</a:t>
            </a:r>
            <a:r>
              <a:rPr lang="en-US" sz="1100" b="1" baseline="0" dirty="0">
                <a:solidFill>
                  <a:schemeClr val="bg1"/>
                </a:solidFill>
                <a:latin typeface="+mn-lt"/>
              </a:rPr>
              <a:t> insert icon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20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1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8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9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0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7440169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ext and Picture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1789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hteck 42"/>
          <p:cNvSpPr/>
          <p:nvPr userDrawn="1"/>
        </p:nvSpPr>
        <p:spPr>
          <a:xfrm>
            <a:off x="0" y="0"/>
            <a:ext cx="12198350" cy="6308725"/>
          </a:xfrm>
          <a:prstGeom prst="rect">
            <a:avLst/>
          </a:prstGeom>
          <a:solidFill>
            <a:srgbClr val="E1C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0" y="1630363"/>
            <a:ext cx="5508625" cy="1846659"/>
          </a:xfrm>
        </p:spPr>
        <p:txBody>
          <a:bodyPr wrap="square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  <a:lvl2pPr>
              <a:defRPr sz="2000" b="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6134100" y="1630363"/>
            <a:ext cx="5508625" cy="4529137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78" name="Textplatzhalt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80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81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82" name="Freihandform 81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83" name="Freihandform 82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84" name="Freihandform 83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2" name="Abgerundetes Rechteck 42"/>
          <p:cNvSpPr/>
          <p:nvPr userDrawn="1"/>
        </p:nvSpPr>
        <p:spPr>
          <a:xfrm>
            <a:off x="12649206" y="6103753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72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For changing images, please delete them and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insert a new one over click</a:t>
            </a:r>
            <a:r>
              <a:rPr lang="en-US" sz="1100" b="1" baseline="0" dirty="0">
                <a:solidFill>
                  <a:schemeClr val="bg1"/>
                </a:solidFill>
                <a:latin typeface="+mn-lt"/>
              </a:rPr>
              <a:t> insert icon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20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1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8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9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0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8284823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ext and Picture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2312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hteck 42"/>
          <p:cNvSpPr/>
          <p:nvPr userDrawn="1"/>
        </p:nvSpPr>
        <p:spPr>
          <a:xfrm>
            <a:off x="0" y="0"/>
            <a:ext cx="12198350" cy="6308725"/>
          </a:xfrm>
          <a:prstGeom prst="rect">
            <a:avLst/>
          </a:prstGeom>
          <a:solidFill>
            <a:srgbClr val="C8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0" y="1630363"/>
            <a:ext cx="5508625" cy="1846659"/>
          </a:xfrm>
        </p:spPr>
        <p:txBody>
          <a:bodyPr wrap="square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  <a:lvl2pPr>
              <a:defRPr sz="2000" b="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6134100" y="1630363"/>
            <a:ext cx="5508625" cy="4529137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78" name="Textplatzhalt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80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81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82" name="Freihandform 81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83" name="Freihandform 82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84" name="Freihandform 83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2" name="Abgerundetes Rechteck 42"/>
          <p:cNvSpPr/>
          <p:nvPr userDrawn="1"/>
        </p:nvSpPr>
        <p:spPr>
          <a:xfrm>
            <a:off x="12649206" y="6103753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72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For changing images, please delete them and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insert a new one over click</a:t>
            </a:r>
            <a:r>
              <a:rPr lang="en-US" sz="1100" b="1" baseline="0" dirty="0">
                <a:solidFill>
                  <a:schemeClr val="bg1"/>
                </a:solidFill>
                <a:latin typeface="+mn-lt"/>
              </a:rPr>
              <a:t> insert icon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20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1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8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9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0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307841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ext and Picture 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83575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hteck 42"/>
          <p:cNvSpPr/>
          <p:nvPr userDrawn="1"/>
        </p:nvSpPr>
        <p:spPr>
          <a:xfrm>
            <a:off x="0" y="0"/>
            <a:ext cx="12198350" cy="6308725"/>
          </a:xfrm>
          <a:prstGeom prst="rect">
            <a:avLst/>
          </a:prstGeom>
          <a:solidFill>
            <a:srgbClr val="D5D2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0" y="1630363"/>
            <a:ext cx="5508625" cy="1846659"/>
          </a:xfrm>
        </p:spPr>
        <p:txBody>
          <a:bodyPr wrap="square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  <a:lvl2pPr>
              <a:defRPr sz="2000" b="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6134100" y="1630363"/>
            <a:ext cx="5508625" cy="4529137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78" name="Textplatzhalt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80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81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82" name="Freihandform 81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83" name="Freihandform 82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84" name="Freihandform 83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2" name="Abgerundetes Rechteck 42"/>
          <p:cNvSpPr/>
          <p:nvPr userDrawn="1"/>
        </p:nvSpPr>
        <p:spPr>
          <a:xfrm>
            <a:off x="12649206" y="6103753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72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For changing images, please delete them and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insert a new one over click</a:t>
            </a:r>
            <a:r>
              <a:rPr lang="en-US" sz="1100" b="1" baseline="0" dirty="0">
                <a:solidFill>
                  <a:schemeClr val="bg1"/>
                </a:solidFill>
                <a:latin typeface="+mn-lt"/>
              </a:rPr>
              <a:t> insert icon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20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1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8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9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0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614825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413375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5375" y="1600200"/>
            <a:ext cx="5413375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3 Text Boxes and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93441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1" y="1630363"/>
            <a:ext cx="3627438" cy="1846659"/>
          </a:xfrm>
        </p:spPr>
        <p:txBody>
          <a:bodyPr wrap="square"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Textplatzhalter 15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254500" y="1630363"/>
            <a:ext cx="3622675" cy="1846659"/>
          </a:xfrm>
        </p:spPr>
        <p:txBody>
          <a:bodyPr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0" name="Abgerundetes Rechteck 42"/>
          <p:cNvSpPr/>
          <p:nvPr userDrawn="1"/>
        </p:nvSpPr>
        <p:spPr>
          <a:xfrm>
            <a:off x="12649206" y="6103753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72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For changing images, please delete them and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insert a new one over click</a:t>
            </a:r>
            <a:r>
              <a:rPr lang="en-US" sz="1100" b="1" baseline="0" dirty="0">
                <a:solidFill>
                  <a:schemeClr val="bg1"/>
                </a:solidFill>
                <a:latin typeface="+mn-lt"/>
              </a:rPr>
              <a:t> insert icon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26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7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8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9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4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6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8020050" y="1624013"/>
            <a:ext cx="3629025" cy="1846659"/>
          </a:xfrm>
        </p:spPr>
        <p:txBody>
          <a:bodyPr/>
          <a:lstStyle>
            <a:lvl1pPr mar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23" hasCustomPrompt="1"/>
          </p:nvPr>
        </p:nvSpPr>
        <p:spPr>
          <a:xfrm>
            <a:off x="482600" y="4040188"/>
            <a:ext cx="3627438" cy="2119312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4" hasCustomPrompt="1"/>
          </p:nvPr>
        </p:nvSpPr>
        <p:spPr>
          <a:xfrm>
            <a:off x="4254500" y="4040188"/>
            <a:ext cx="3622675" cy="2119312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25" hasCustomPrompt="1"/>
          </p:nvPr>
        </p:nvSpPr>
        <p:spPr>
          <a:xfrm>
            <a:off x="8020050" y="4040188"/>
            <a:ext cx="3629025" cy="2119312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482599" y="6597650"/>
            <a:ext cx="5508625" cy="153888"/>
          </a:xfrm>
        </p:spPr>
        <p:txBody>
          <a:bodyPr anchor="b">
            <a:spAutoFit/>
          </a:bodyPr>
          <a:lstStyle>
            <a:lvl1pPr>
              <a:defRPr sz="1000"/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3105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3 Text Boxes and Pict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579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1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hteck 46"/>
          <p:cNvSpPr/>
          <p:nvPr userDrawn="1"/>
        </p:nvSpPr>
        <p:spPr>
          <a:xfrm>
            <a:off x="0" y="0"/>
            <a:ext cx="12198350" cy="6308725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1" y="1630363"/>
            <a:ext cx="3627438" cy="1846659"/>
          </a:xfrm>
        </p:spPr>
        <p:txBody>
          <a:bodyPr wrap="square"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Textplatzhalter 15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254500" y="1630363"/>
            <a:ext cx="3622675" cy="1846659"/>
          </a:xfrm>
        </p:spPr>
        <p:txBody>
          <a:bodyPr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84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85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86" name="Freihandform 85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87" name="Freihandform 86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88" name="Freihandform 87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30" name="Abgerundetes Rechteck 42"/>
          <p:cNvSpPr/>
          <p:nvPr userDrawn="1"/>
        </p:nvSpPr>
        <p:spPr>
          <a:xfrm>
            <a:off x="12649206" y="6103753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72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For changing images, please delete them and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insert a new one over click</a:t>
            </a:r>
            <a:r>
              <a:rPr lang="en-US" sz="1100" b="1" baseline="0" dirty="0">
                <a:solidFill>
                  <a:schemeClr val="bg1"/>
                </a:solidFill>
                <a:latin typeface="+mn-lt"/>
              </a:rPr>
              <a:t> insert icon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26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7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8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9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4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6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8020050" y="1624013"/>
            <a:ext cx="3629025" cy="1846659"/>
          </a:xfrm>
        </p:spPr>
        <p:txBody>
          <a:bodyPr/>
          <a:lstStyle>
            <a:lvl1pPr mar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23" hasCustomPrompt="1"/>
          </p:nvPr>
        </p:nvSpPr>
        <p:spPr>
          <a:xfrm>
            <a:off x="482600" y="4040188"/>
            <a:ext cx="3627438" cy="2119312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4" hasCustomPrompt="1"/>
          </p:nvPr>
        </p:nvSpPr>
        <p:spPr>
          <a:xfrm>
            <a:off x="4254500" y="4040188"/>
            <a:ext cx="3622675" cy="2119312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25" hasCustomPrompt="1"/>
          </p:nvPr>
        </p:nvSpPr>
        <p:spPr>
          <a:xfrm>
            <a:off x="8020050" y="4040188"/>
            <a:ext cx="3629025" cy="2119312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482599" y="6597650"/>
            <a:ext cx="5508625" cy="153888"/>
          </a:xfrm>
        </p:spPr>
        <p:txBody>
          <a:bodyPr anchor="b">
            <a:spAutoFit/>
          </a:bodyPr>
          <a:lstStyle>
            <a:lvl1pPr>
              <a:defRPr sz="1000"/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571126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3 Text Boxes and Picture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44412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hteck 46"/>
          <p:cNvSpPr/>
          <p:nvPr userDrawn="1"/>
        </p:nvSpPr>
        <p:spPr>
          <a:xfrm>
            <a:off x="0" y="0"/>
            <a:ext cx="12198350" cy="6308725"/>
          </a:xfrm>
          <a:prstGeom prst="rect">
            <a:avLst/>
          </a:prstGeom>
          <a:solidFill>
            <a:srgbClr val="E1C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1" y="1630363"/>
            <a:ext cx="3627438" cy="1846659"/>
          </a:xfrm>
        </p:spPr>
        <p:txBody>
          <a:bodyPr wrap="square"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Textplatzhalter 15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254500" y="1630363"/>
            <a:ext cx="3622675" cy="1846659"/>
          </a:xfrm>
        </p:spPr>
        <p:txBody>
          <a:bodyPr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84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85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86" name="Freihandform 85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87" name="Freihandform 86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88" name="Freihandform 87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30" name="Abgerundetes Rechteck 42"/>
          <p:cNvSpPr/>
          <p:nvPr userDrawn="1"/>
        </p:nvSpPr>
        <p:spPr>
          <a:xfrm>
            <a:off x="12649206" y="6103753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72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For changing images, please delete them and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insert a new one over click</a:t>
            </a:r>
            <a:r>
              <a:rPr lang="en-US" sz="1100" b="1" baseline="0" dirty="0">
                <a:solidFill>
                  <a:schemeClr val="bg1"/>
                </a:solidFill>
                <a:latin typeface="+mn-lt"/>
              </a:rPr>
              <a:t> insert icon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26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7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8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9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4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6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8020050" y="1624013"/>
            <a:ext cx="3629025" cy="1846659"/>
          </a:xfrm>
        </p:spPr>
        <p:txBody>
          <a:bodyPr/>
          <a:lstStyle>
            <a:lvl1pPr mar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23" hasCustomPrompt="1"/>
          </p:nvPr>
        </p:nvSpPr>
        <p:spPr>
          <a:xfrm>
            <a:off x="482600" y="4040188"/>
            <a:ext cx="3627438" cy="2119312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4" hasCustomPrompt="1"/>
          </p:nvPr>
        </p:nvSpPr>
        <p:spPr>
          <a:xfrm>
            <a:off x="4254500" y="4040188"/>
            <a:ext cx="3622675" cy="2119312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25" hasCustomPrompt="1"/>
          </p:nvPr>
        </p:nvSpPr>
        <p:spPr>
          <a:xfrm>
            <a:off x="8020050" y="4040188"/>
            <a:ext cx="3629025" cy="2119312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482599" y="6597650"/>
            <a:ext cx="5508625" cy="153888"/>
          </a:xfrm>
        </p:spPr>
        <p:txBody>
          <a:bodyPr anchor="b">
            <a:spAutoFit/>
          </a:bodyPr>
          <a:lstStyle>
            <a:lvl1pPr>
              <a:defRPr sz="1000"/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277380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3 Text Boxes and Picture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60105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hteck 46"/>
          <p:cNvSpPr/>
          <p:nvPr userDrawn="1"/>
        </p:nvSpPr>
        <p:spPr>
          <a:xfrm>
            <a:off x="0" y="0"/>
            <a:ext cx="12198350" cy="6308725"/>
          </a:xfrm>
          <a:prstGeom prst="rect">
            <a:avLst/>
          </a:prstGeom>
          <a:solidFill>
            <a:srgbClr val="C8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1" y="1630363"/>
            <a:ext cx="3627438" cy="1846659"/>
          </a:xfrm>
        </p:spPr>
        <p:txBody>
          <a:bodyPr wrap="square"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Textplatzhalter 15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254500" y="1630363"/>
            <a:ext cx="3622675" cy="1846659"/>
          </a:xfrm>
        </p:spPr>
        <p:txBody>
          <a:bodyPr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84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85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86" name="Freihandform 85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87" name="Freihandform 86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88" name="Freihandform 87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30" name="Abgerundetes Rechteck 42"/>
          <p:cNvSpPr/>
          <p:nvPr userDrawn="1"/>
        </p:nvSpPr>
        <p:spPr>
          <a:xfrm>
            <a:off x="12649206" y="6103753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72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For changing images, please delete them and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insert a new one over click</a:t>
            </a:r>
            <a:r>
              <a:rPr lang="en-US" sz="1100" b="1" baseline="0" dirty="0">
                <a:solidFill>
                  <a:schemeClr val="bg1"/>
                </a:solidFill>
                <a:latin typeface="+mn-lt"/>
              </a:rPr>
              <a:t> insert icon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26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7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8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9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4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6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8020050" y="1624013"/>
            <a:ext cx="3629025" cy="1846659"/>
          </a:xfrm>
        </p:spPr>
        <p:txBody>
          <a:bodyPr/>
          <a:lstStyle>
            <a:lvl1pPr mar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23" hasCustomPrompt="1"/>
          </p:nvPr>
        </p:nvSpPr>
        <p:spPr>
          <a:xfrm>
            <a:off x="482600" y="4040188"/>
            <a:ext cx="3627438" cy="2119312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4" hasCustomPrompt="1"/>
          </p:nvPr>
        </p:nvSpPr>
        <p:spPr>
          <a:xfrm>
            <a:off x="4254500" y="4040188"/>
            <a:ext cx="3622675" cy="2119312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25" hasCustomPrompt="1"/>
          </p:nvPr>
        </p:nvSpPr>
        <p:spPr>
          <a:xfrm>
            <a:off x="8020050" y="4040188"/>
            <a:ext cx="3629025" cy="2119312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482599" y="6597650"/>
            <a:ext cx="5508625" cy="153888"/>
          </a:xfrm>
        </p:spPr>
        <p:txBody>
          <a:bodyPr anchor="b">
            <a:spAutoFit/>
          </a:bodyPr>
          <a:lstStyle>
            <a:lvl1pPr>
              <a:defRPr sz="1000"/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617327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3 Text Boxes and Picture 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6267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hteck 46"/>
          <p:cNvSpPr/>
          <p:nvPr userDrawn="1"/>
        </p:nvSpPr>
        <p:spPr>
          <a:xfrm>
            <a:off x="0" y="0"/>
            <a:ext cx="12198350" cy="6308725"/>
          </a:xfrm>
          <a:prstGeom prst="rect">
            <a:avLst/>
          </a:prstGeom>
          <a:solidFill>
            <a:srgbClr val="D5D2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1" y="1630363"/>
            <a:ext cx="3627438" cy="1846659"/>
          </a:xfrm>
        </p:spPr>
        <p:txBody>
          <a:bodyPr wrap="square"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Textplatzhalter 15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254500" y="1630363"/>
            <a:ext cx="3622675" cy="1846659"/>
          </a:xfrm>
        </p:spPr>
        <p:txBody>
          <a:bodyPr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84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85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86" name="Freihandform 85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87" name="Freihandform 86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88" name="Freihandform 87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30" name="Abgerundetes Rechteck 42"/>
          <p:cNvSpPr/>
          <p:nvPr userDrawn="1"/>
        </p:nvSpPr>
        <p:spPr>
          <a:xfrm>
            <a:off x="12649206" y="6103753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72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For changing images, please delete them and </a:t>
            </a:r>
            <a:r>
              <a:rPr lang="en-US" sz="1100" b="1" dirty="0">
                <a:solidFill>
                  <a:schemeClr val="bg1"/>
                </a:solidFill>
                <a:latin typeface="+mn-lt"/>
              </a:rPr>
              <a:t>insert a new one over click</a:t>
            </a:r>
            <a:r>
              <a:rPr lang="en-US" sz="1100" b="1" baseline="0" dirty="0">
                <a:solidFill>
                  <a:schemeClr val="bg1"/>
                </a:solidFill>
                <a:latin typeface="+mn-lt"/>
              </a:rPr>
              <a:t> insert icon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26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7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8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9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4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6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8020050" y="1624013"/>
            <a:ext cx="3629025" cy="1846659"/>
          </a:xfrm>
        </p:spPr>
        <p:txBody>
          <a:bodyPr/>
          <a:lstStyle>
            <a:lvl1pPr mar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23" hasCustomPrompt="1"/>
          </p:nvPr>
        </p:nvSpPr>
        <p:spPr>
          <a:xfrm>
            <a:off x="482600" y="4040188"/>
            <a:ext cx="3627438" cy="2119312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4" hasCustomPrompt="1"/>
          </p:nvPr>
        </p:nvSpPr>
        <p:spPr>
          <a:xfrm>
            <a:off x="4254500" y="4040188"/>
            <a:ext cx="3622675" cy="2119312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25" hasCustomPrompt="1"/>
          </p:nvPr>
        </p:nvSpPr>
        <p:spPr>
          <a:xfrm>
            <a:off x="8020050" y="4040188"/>
            <a:ext cx="3629025" cy="2119312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482599" y="6597650"/>
            <a:ext cx="5508625" cy="153888"/>
          </a:xfrm>
        </p:spPr>
        <p:txBody>
          <a:bodyPr anchor="b">
            <a:spAutoFit/>
          </a:bodyPr>
          <a:lstStyle>
            <a:lvl1pPr>
              <a:defRPr sz="1000"/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63710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kt 3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49309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Picture 1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062721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45438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1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 userDrawn="1"/>
        </p:nvSpPr>
        <p:spPr>
          <a:xfrm>
            <a:off x="482600" y="1152942"/>
            <a:ext cx="3627438" cy="5155784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0" name="Rechteck 9"/>
          <p:cNvSpPr/>
          <p:nvPr userDrawn="1"/>
        </p:nvSpPr>
        <p:spPr>
          <a:xfrm>
            <a:off x="4254499" y="1152942"/>
            <a:ext cx="3622675" cy="5155784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8020051" y="1152942"/>
            <a:ext cx="3624262" cy="5155784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2600" y="1630363"/>
            <a:ext cx="3627438" cy="1883011"/>
          </a:xfrm>
        </p:spPr>
        <p:txBody>
          <a:bodyPr wrap="square" lIns="108000" tIns="0" rIns="108000"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254499" y="1630363"/>
            <a:ext cx="3622675" cy="1883011"/>
          </a:xfrm>
        </p:spPr>
        <p:txBody>
          <a:bodyPr wrap="square" lIns="108000" tIns="0" rIns="108000"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1" y="796"/>
            <a:ext cx="12198350" cy="1624807"/>
            <a:chOff x="1" y="796"/>
            <a:chExt cx="12198350" cy="1624807"/>
          </a:xfrm>
        </p:grpSpPr>
        <p:sp>
          <p:nvSpPr>
            <p:cNvPr id="112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4" name="Freeform 11"/>
            <p:cNvSpPr>
              <a:spLocks/>
            </p:cNvSpPr>
            <p:nvPr userDrawn="1"/>
          </p:nvSpPr>
          <p:spPr bwMode="gray">
            <a:xfrm>
              <a:off x="1" y="1151075"/>
              <a:ext cx="12198350" cy="474528"/>
            </a:xfrm>
            <a:custGeom>
              <a:avLst/>
              <a:gdLst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4" fmla="*/ 93792 w 12207175"/>
                <a:gd name="connsiteY4" fmla="*/ 93820 h 1624807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2352 w 12207175"/>
                <a:gd name="connsiteY0" fmla="*/ 4126 h 1626553"/>
                <a:gd name="connsiteX1" fmla="*/ 31685 w 12207175"/>
                <a:gd name="connsiteY1" fmla="*/ 0 h 1626553"/>
                <a:gd name="connsiteX2" fmla="*/ 12207175 w 12207175"/>
                <a:gd name="connsiteY2" fmla="*/ 1746 h 1626553"/>
                <a:gd name="connsiteX3" fmla="*/ 12207175 w 12207175"/>
                <a:gd name="connsiteY3" fmla="*/ 1152025 h 1626553"/>
                <a:gd name="connsiteX4" fmla="*/ 0 w 12207175"/>
                <a:gd name="connsiteY4" fmla="*/ 1626553 h 1626553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12207175 w 12207175"/>
                <a:gd name="connsiteY0" fmla="*/ 0 h 1624807"/>
                <a:gd name="connsiteX1" fmla="*/ 12207175 w 12207175"/>
                <a:gd name="connsiteY1" fmla="*/ 1150279 h 1624807"/>
                <a:gd name="connsiteX2" fmla="*/ 0 w 12207175"/>
                <a:gd name="connsiteY2" fmla="*/ 1624807 h 1624807"/>
                <a:gd name="connsiteX0" fmla="*/ 12207175 w 12207175"/>
                <a:gd name="connsiteY0" fmla="*/ 0 h 474528"/>
                <a:gd name="connsiteX1" fmla="*/ 0 w 12207175"/>
                <a:gd name="connsiteY1" fmla="*/ 474528 h 47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07175" h="474528">
                  <a:moveTo>
                    <a:pt x="12207175" y="0"/>
                  </a:moveTo>
                  <a:cubicBezTo>
                    <a:pt x="9794392" y="10920"/>
                    <a:pt x="4154653" y="95989"/>
                    <a:pt x="0" y="474528"/>
                  </a:cubicBezTo>
                </a:path>
              </a:pathLst>
            </a:custGeom>
            <a:noFill/>
            <a:ln w="9525">
              <a:solidFill>
                <a:srgbClr val="F9B59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153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154" name="Freihandform 153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155" name="Freihandform 154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156" name="Freihandform 155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23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4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5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6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0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27" name="Textplatzhalt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8021174" y="1630363"/>
            <a:ext cx="3622675" cy="1883011"/>
          </a:xfrm>
        </p:spPr>
        <p:txBody>
          <a:bodyPr wrap="square" lIns="108000" tIns="0" rIns="108000"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82600" y="6597650"/>
            <a:ext cx="5508625" cy="153888"/>
          </a:xfrm>
        </p:spPr>
        <p:txBody>
          <a:bodyPr anchor="b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51649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16788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1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>
            <a:spLocks/>
          </p:cNvSpPr>
          <p:nvPr userDrawn="1"/>
        </p:nvSpPr>
        <p:spPr>
          <a:xfrm>
            <a:off x="482600" y="1152942"/>
            <a:ext cx="2683222" cy="5155784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0" name="Rechteck 9"/>
          <p:cNvSpPr>
            <a:spLocks/>
          </p:cNvSpPr>
          <p:nvPr userDrawn="1"/>
        </p:nvSpPr>
        <p:spPr>
          <a:xfrm>
            <a:off x="3309822" y="1152942"/>
            <a:ext cx="2683222" cy="5155784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1" name="Rechteck 10"/>
          <p:cNvSpPr>
            <a:spLocks/>
          </p:cNvSpPr>
          <p:nvPr userDrawn="1"/>
        </p:nvSpPr>
        <p:spPr>
          <a:xfrm>
            <a:off x="8964265" y="1152942"/>
            <a:ext cx="2680048" cy="5155784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52" name="Rechteck 51"/>
          <p:cNvSpPr>
            <a:spLocks/>
          </p:cNvSpPr>
          <p:nvPr userDrawn="1"/>
        </p:nvSpPr>
        <p:spPr>
          <a:xfrm>
            <a:off x="6137044" y="1152942"/>
            <a:ext cx="2683222" cy="5155784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0" y="1630363"/>
            <a:ext cx="2683222" cy="1846659"/>
          </a:xfrm>
        </p:spPr>
        <p:txBody>
          <a:bodyPr wrap="square" lIns="108000" rIns="108000"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3" name="Textplatzhalter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09822" y="1630363"/>
            <a:ext cx="2683222" cy="1846659"/>
          </a:xfrm>
        </p:spPr>
        <p:txBody>
          <a:bodyPr wrap="square" lIns="108000" rIns="108000"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4" name="Textplatzhalter 1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137044" y="1630363"/>
            <a:ext cx="2683222" cy="1846659"/>
          </a:xfrm>
        </p:spPr>
        <p:txBody>
          <a:bodyPr wrap="square" lIns="108000" rIns="108000"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5" name="Textplatzhalter 1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964265" y="1630363"/>
            <a:ext cx="2680048" cy="1846659"/>
          </a:xfrm>
        </p:spPr>
        <p:txBody>
          <a:bodyPr wrap="square" lIns="108000" rIns="108000"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8" name="Textplatzhalter 3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0" y="796"/>
            <a:ext cx="12198350" cy="1624807"/>
            <a:chOff x="0" y="796"/>
            <a:chExt cx="12198350" cy="1624807"/>
          </a:xfrm>
        </p:grpSpPr>
        <p:sp>
          <p:nvSpPr>
            <p:cNvPr id="82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4" name="Freeform 11"/>
            <p:cNvSpPr>
              <a:spLocks/>
            </p:cNvSpPr>
            <p:nvPr userDrawn="1"/>
          </p:nvSpPr>
          <p:spPr bwMode="gray">
            <a:xfrm>
              <a:off x="0" y="1151075"/>
              <a:ext cx="12198350" cy="474528"/>
            </a:xfrm>
            <a:custGeom>
              <a:avLst/>
              <a:gdLst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4" fmla="*/ 93792 w 12207175"/>
                <a:gd name="connsiteY4" fmla="*/ 93820 h 1624807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2352 w 12207175"/>
                <a:gd name="connsiteY0" fmla="*/ 4126 h 1626553"/>
                <a:gd name="connsiteX1" fmla="*/ 31685 w 12207175"/>
                <a:gd name="connsiteY1" fmla="*/ 0 h 1626553"/>
                <a:gd name="connsiteX2" fmla="*/ 12207175 w 12207175"/>
                <a:gd name="connsiteY2" fmla="*/ 1746 h 1626553"/>
                <a:gd name="connsiteX3" fmla="*/ 12207175 w 12207175"/>
                <a:gd name="connsiteY3" fmla="*/ 1152025 h 1626553"/>
                <a:gd name="connsiteX4" fmla="*/ 0 w 12207175"/>
                <a:gd name="connsiteY4" fmla="*/ 1626553 h 1626553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12207175 w 12207175"/>
                <a:gd name="connsiteY0" fmla="*/ 0 h 1624807"/>
                <a:gd name="connsiteX1" fmla="*/ 12207175 w 12207175"/>
                <a:gd name="connsiteY1" fmla="*/ 1150279 h 1624807"/>
                <a:gd name="connsiteX2" fmla="*/ 0 w 12207175"/>
                <a:gd name="connsiteY2" fmla="*/ 1624807 h 1624807"/>
                <a:gd name="connsiteX0" fmla="*/ 12207175 w 12207175"/>
                <a:gd name="connsiteY0" fmla="*/ 0 h 474528"/>
                <a:gd name="connsiteX1" fmla="*/ 0 w 12207175"/>
                <a:gd name="connsiteY1" fmla="*/ 474528 h 47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07175" h="474528">
                  <a:moveTo>
                    <a:pt x="12207175" y="0"/>
                  </a:moveTo>
                  <a:cubicBezTo>
                    <a:pt x="9794392" y="10920"/>
                    <a:pt x="4154653" y="95989"/>
                    <a:pt x="0" y="474528"/>
                  </a:cubicBezTo>
                </a:path>
              </a:pathLst>
            </a:custGeom>
            <a:noFill/>
            <a:ln w="9525">
              <a:solidFill>
                <a:srgbClr val="F9B59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181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182" name="Freihandform 181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183" name="Freihandform 182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184" name="Freihandform 183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25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6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7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32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3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664446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3242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1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>
            <a:spLocks/>
          </p:cNvSpPr>
          <p:nvPr userDrawn="1"/>
        </p:nvSpPr>
        <p:spPr>
          <a:xfrm>
            <a:off x="482600" y="1152942"/>
            <a:ext cx="2117778" cy="5155784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0" name="Rechteck 9"/>
          <p:cNvSpPr>
            <a:spLocks/>
          </p:cNvSpPr>
          <p:nvPr userDrawn="1"/>
        </p:nvSpPr>
        <p:spPr>
          <a:xfrm>
            <a:off x="2744377" y="1152942"/>
            <a:ext cx="2117778" cy="5155784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1" name="Rechteck 10"/>
          <p:cNvSpPr>
            <a:spLocks/>
          </p:cNvSpPr>
          <p:nvPr userDrawn="1"/>
        </p:nvSpPr>
        <p:spPr>
          <a:xfrm>
            <a:off x="9529710" y="1152942"/>
            <a:ext cx="2114603" cy="5155784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52" name="Rechteck 51"/>
          <p:cNvSpPr>
            <a:spLocks/>
          </p:cNvSpPr>
          <p:nvPr userDrawn="1"/>
        </p:nvSpPr>
        <p:spPr>
          <a:xfrm>
            <a:off x="5006155" y="1152942"/>
            <a:ext cx="2117778" cy="5155784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56" name="Rechteck 55"/>
          <p:cNvSpPr>
            <a:spLocks/>
          </p:cNvSpPr>
          <p:nvPr userDrawn="1"/>
        </p:nvSpPr>
        <p:spPr>
          <a:xfrm>
            <a:off x="7267932" y="1151075"/>
            <a:ext cx="2117778" cy="5155784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0" y="1630363"/>
            <a:ext cx="2117778" cy="2103140"/>
          </a:xfrm>
        </p:spPr>
        <p:txBody>
          <a:bodyPr wrap="square" lIns="108000" rIns="108000"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</a:t>
            </a:r>
            <a:br>
              <a:rPr lang="en-US" noProof="0" dirty="0"/>
            </a:br>
            <a:r>
              <a:rPr lang="en-US" noProof="0" dirty="0"/>
              <a:t>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57" name="Textplatzhalter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744376" y="1630363"/>
            <a:ext cx="2117778" cy="2103140"/>
          </a:xfrm>
        </p:spPr>
        <p:txBody>
          <a:bodyPr wrap="square" lIns="108000" rIns="108000"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</a:t>
            </a:r>
            <a:br>
              <a:rPr lang="en-US" noProof="0" dirty="0"/>
            </a:br>
            <a:r>
              <a:rPr lang="en-US" noProof="0" dirty="0"/>
              <a:t>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58" name="Textplatzhalter 1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006155" y="1630363"/>
            <a:ext cx="2117778" cy="2103140"/>
          </a:xfrm>
        </p:spPr>
        <p:txBody>
          <a:bodyPr wrap="square" lIns="108000" rIns="108000"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</a:t>
            </a:r>
            <a:br>
              <a:rPr lang="en-US" noProof="0" dirty="0"/>
            </a:br>
            <a:r>
              <a:rPr lang="en-US" noProof="0" dirty="0"/>
              <a:t>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59" name="Textplatzhalter 1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7267932" y="1630363"/>
            <a:ext cx="2117778" cy="2103140"/>
          </a:xfrm>
        </p:spPr>
        <p:txBody>
          <a:bodyPr wrap="square" lIns="108000" rIns="108000"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</a:t>
            </a:r>
            <a:br>
              <a:rPr lang="en-US" noProof="0" dirty="0"/>
            </a:br>
            <a:r>
              <a:rPr lang="en-US" noProof="0" dirty="0"/>
              <a:t>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60" name="Textplatzhalter 12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9529710" y="1630363"/>
            <a:ext cx="2114603" cy="2103140"/>
          </a:xfrm>
        </p:spPr>
        <p:txBody>
          <a:bodyPr wrap="square" lIns="108000" rIns="108000">
            <a:sp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</a:t>
            </a:r>
            <a:br>
              <a:rPr lang="en-US" noProof="0" dirty="0"/>
            </a:br>
            <a:r>
              <a:rPr lang="en-US" noProof="0" dirty="0"/>
              <a:t>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125" name="Textplatzhalter 3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0" y="5556"/>
            <a:ext cx="12198350" cy="1623969"/>
            <a:chOff x="0" y="5556"/>
            <a:chExt cx="12198350" cy="1623969"/>
          </a:xfrm>
        </p:grpSpPr>
        <p:sp>
          <p:nvSpPr>
            <p:cNvPr id="128" name="Freeform 11"/>
            <p:cNvSpPr>
              <a:spLocks/>
            </p:cNvSpPr>
            <p:nvPr userDrawn="1"/>
          </p:nvSpPr>
          <p:spPr bwMode="gray">
            <a:xfrm>
              <a:off x="701" y="555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161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162" name="Freihandform 161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163" name="Freihandform 162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164" name="Freihandform 163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  <p:sp>
          <p:nvSpPr>
            <p:cNvPr id="130" name="Freeform 11"/>
            <p:cNvSpPr>
              <a:spLocks/>
            </p:cNvSpPr>
            <p:nvPr userDrawn="1"/>
          </p:nvSpPr>
          <p:spPr bwMode="gray">
            <a:xfrm>
              <a:off x="0" y="1151075"/>
              <a:ext cx="12198350" cy="474528"/>
            </a:xfrm>
            <a:custGeom>
              <a:avLst/>
              <a:gdLst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4" fmla="*/ 93792 w 12207175"/>
                <a:gd name="connsiteY4" fmla="*/ 93820 h 1624807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2352 w 12207175"/>
                <a:gd name="connsiteY0" fmla="*/ 4126 h 1626553"/>
                <a:gd name="connsiteX1" fmla="*/ 31685 w 12207175"/>
                <a:gd name="connsiteY1" fmla="*/ 0 h 1626553"/>
                <a:gd name="connsiteX2" fmla="*/ 12207175 w 12207175"/>
                <a:gd name="connsiteY2" fmla="*/ 1746 h 1626553"/>
                <a:gd name="connsiteX3" fmla="*/ 12207175 w 12207175"/>
                <a:gd name="connsiteY3" fmla="*/ 1152025 h 1626553"/>
                <a:gd name="connsiteX4" fmla="*/ 0 w 12207175"/>
                <a:gd name="connsiteY4" fmla="*/ 1626553 h 1626553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12207175 w 12207175"/>
                <a:gd name="connsiteY0" fmla="*/ 0 h 1624807"/>
                <a:gd name="connsiteX1" fmla="*/ 12207175 w 12207175"/>
                <a:gd name="connsiteY1" fmla="*/ 1150279 h 1624807"/>
                <a:gd name="connsiteX2" fmla="*/ 0 w 12207175"/>
                <a:gd name="connsiteY2" fmla="*/ 1624807 h 1624807"/>
                <a:gd name="connsiteX0" fmla="*/ 12207175 w 12207175"/>
                <a:gd name="connsiteY0" fmla="*/ 0 h 474528"/>
                <a:gd name="connsiteX1" fmla="*/ 0 w 12207175"/>
                <a:gd name="connsiteY1" fmla="*/ 474528 h 47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07175" h="474528">
                  <a:moveTo>
                    <a:pt x="12207175" y="0"/>
                  </a:moveTo>
                  <a:cubicBezTo>
                    <a:pt x="9794392" y="10920"/>
                    <a:pt x="4154653" y="95989"/>
                    <a:pt x="0" y="474528"/>
                  </a:cubicBezTo>
                </a:path>
              </a:pathLst>
            </a:custGeom>
            <a:noFill/>
            <a:ln w="9525">
              <a:solidFill>
                <a:srgbClr val="F9B59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27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8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9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34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5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71103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16664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1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20050" y="1019174"/>
            <a:ext cx="3624262" cy="2878137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97"/>
          <a:stretch/>
        </p:blipFill>
        <p:spPr>
          <a:xfrm>
            <a:off x="4254498" y="1019174"/>
            <a:ext cx="3622677" cy="2878138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2599" y="1266825"/>
            <a:ext cx="3627439" cy="2630488"/>
          </a:xfrm>
          <a:prstGeom prst="rect">
            <a:avLst/>
          </a:prstGeom>
        </p:spPr>
      </p:pic>
      <p:sp>
        <p:nvSpPr>
          <p:cNvPr id="13" name="Textplatzhalt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0" y="3897313"/>
            <a:ext cx="3627438" cy="2411412"/>
          </a:xfrm>
          <a:solidFill>
            <a:srgbClr val="FDDDCB"/>
          </a:solidFill>
        </p:spPr>
        <p:txBody>
          <a:bodyPr wrap="square" lIns="108000" tIns="72000" rIns="108000" bIns="72000">
            <a:no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Textplatzhalter 15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254499" y="3897313"/>
            <a:ext cx="3622676" cy="2411412"/>
          </a:xfrm>
          <a:solidFill>
            <a:srgbClr val="FDDDCB"/>
          </a:solidFill>
        </p:spPr>
        <p:txBody>
          <a:bodyPr wrap="square" lIns="108000" tIns="72000" rIns="108000" bIns="72000">
            <a:no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7" name="Abgerundetes Rechteck 42"/>
          <p:cNvSpPr/>
          <p:nvPr userDrawn="1"/>
        </p:nvSpPr>
        <p:spPr>
          <a:xfrm>
            <a:off x="12649206" y="6103753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72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Images</a:t>
            </a:r>
            <a:r>
              <a:rPr lang="en-US" sz="1100" dirty="0">
                <a:solidFill>
                  <a:srgbClr val="2D1E1C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must be exchanged </a:t>
            </a:r>
            <a:br>
              <a:rPr lang="en-US" sz="1100" dirty="0">
                <a:solidFill>
                  <a:schemeClr val="bg1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on the slide master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1" y="796"/>
            <a:ext cx="12198350" cy="1624807"/>
            <a:chOff x="1" y="796"/>
            <a:chExt cx="12198350" cy="1624807"/>
          </a:xfrm>
        </p:grpSpPr>
        <p:sp>
          <p:nvSpPr>
            <p:cNvPr id="126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8" name="Freeform 11"/>
            <p:cNvSpPr>
              <a:spLocks/>
            </p:cNvSpPr>
            <p:nvPr userDrawn="1"/>
          </p:nvSpPr>
          <p:spPr bwMode="gray">
            <a:xfrm>
              <a:off x="1" y="1151075"/>
              <a:ext cx="12198350" cy="474528"/>
            </a:xfrm>
            <a:custGeom>
              <a:avLst/>
              <a:gdLst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4" fmla="*/ 93792 w 12207175"/>
                <a:gd name="connsiteY4" fmla="*/ 93820 h 1624807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2352 w 12207175"/>
                <a:gd name="connsiteY0" fmla="*/ 4126 h 1626553"/>
                <a:gd name="connsiteX1" fmla="*/ 31685 w 12207175"/>
                <a:gd name="connsiteY1" fmla="*/ 0 h 1626553"/>
                <a:gd name="connsiteX2" fmla="*/ 12207175 w 12207175"/>
                <a:gd name="connsiteY2" fmla="*/ 1746 h 1626553"/>
                <a:gd name="connsiteX3" fmla="*/ 12207175 w 12207175"/>
                <a:gd name="connsiteY3" fmla="*/ 1152025 h 1626553"/>
                <a:gd name="connsiteX4" fmla="*/ 0 w 12207175"/>
                <a:gd name="connsiteY4" fmla="*/ 1626553 h 1626553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12207175 w 12207175"/>
                <a:gd name="connsiteY0" fmla="*/ 0 h 1624807"/>
                <a:gd name="connsiteX1" fmla="*/ 12207175 w 12207175"/>
                <a:gd name="connsiteY1" fmla="*/ 1150279 h 1624807"/>
                <a:gd name="connsiteX2" fmla="*/ 0 w 12207175"/>
                <a:gd name="connsiteY2" fmla="*/ 1624807 h 1624807"/>
                <a:gd name="connsiteX0" fmla="*/ 12207175 w 12207175"/>
                <a:gd name="connsiteY0" fmla="*/ 0 h 474528"/>
                <a:gd name="connsiteX1" fmla="*/ 0 w 12207175"/>
                <a:gd name="connsiteY1" fmla="*/ 474528 h 47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07175" h="474528">
                  <a:moveTo>
                    <a:pt x="12207175" y="0"/>
                  </a:moveTo>
                  <a:cubicBezTo>
                    <a:pt x="9794392" y="10920"/>
                    <a:pt x="4154653" y="95989"/>
                    <a:pt x="0" y="474528"/>
                  </a:cubicBezTo>
                </a:path>
              </a:pathLst>
            </a:custGeom>
            <a:noFill/>
            <a:ln w="9525">
              <a:solidFill>
                <a:srgbClr val="F9B59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159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160" name="Freihandform 159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161" name="Freihandform 160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162" name="Freihandform 161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24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5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32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33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4" name="Picture 20"/>
              <p:cNvPicPr>
                <a:picLocks noChangeAspect="1" noChangeArrowheads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26" name="Textplatzhalt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8021636" y="3897313"/>
            <a:ext cx="3622676" cy="2411412"/>
          </a:xfrm>
          <a:solidFill>
            <a:srgbClr val="FDDDCB"/>
          </a:solidFill>
        </p:spPr>
        <p:txBody>
          <a:bodyPr wrap="square" lIns="108000" tIns="72000" rIns="108000" bIns="72000">
            <a:no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82600" y="6597650"/>
            <a:ext cx="5508626" cy="153888"/>
          </a:xfrm>
        </p:spPr>
        <p:txBody>
          <a:bodyPr anchor="b">
            <a:spAutoFit/>
          </a:bodyPr>
          <a:lstStyle>
            <a:lvl1pPr>
              <a:defRPr sz="1000"/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253129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956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9563" cy="39528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6013" y="1535113"/>
            <a:ext cx="539273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6013" y="2174875"/>
            <a:ext cx="5392737" cy="39528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578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1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2601" y="1020763"/>
            <a:ext cx="2683221" cy="287655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09822" y="1020763"/>
            <a:ext cx="2681403" cy="287655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34101" y="1020764"/>
            <a:ext cx="2686166" cy="2876549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64264" y="1020763"/>
            <a:ext cx="2680049" cy="2876550"/>
          </a:xfrm>
          <a:prstGeom prst="rect">
            <a:avLst/>
          </a:prstGeom>
        </p:spPr>
      </p:pic>
      <p:sp>
        <p:nvSpPr>
          <p:cNvPr id="13" name="Textplatzhalt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0" y="3897313"/>
            <a:ext cx="2683222" cy="2411412"/>
          </a:xfrm>
          <a:solidFill>
            <a:srgbClr val="FDDDCB"/>
          </a:solidFill>
        </p:spPr>
        <p:txBody>
          <a:bodyPr wrap="square" lIns="108000" tIns="72000" rIns="108000" bIns="72000">
            <a:no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3" name="Textplatzhalter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09822" y="3897313"/>
            <a:ext cx="2681403" cy="2411412"/>
          </a:xfrm>
          <a:solidFill>
            <a:srgbClr val="FDDDCB"/>
          </a:solidFill>
        </p:spPr>
        <p:txBody>
          <a:bodyPr wrap="square" lIns="108000" tIns="72000" rIns="108000" bIns="72000">
            <a:no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4" name="Textplatzhalter 1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134100" y="3897313"/>
            <a:ext cx="2686166" cy="2411412"/>
          </a:xfrm>
          <a:solidFill>
            <a:srgbClr val="FDDDCB"/>
          </a:solidFill>
        </p:spPr>
        <p:txBody>
          <a:bodyPr wrap="square" lIns="108000" tIns="72000" rIns="108000" bIns="72000">
            <a:no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5" name="Textplatzhalter 1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964265" y="3897313"/>
            <a:ext cx="2680048" cy="2411412"/>
          </a:xfrm>
          <a:solidFill>
            <a:srgbClr val="FDDDCB"/>
          </a:solidFill>
        </p:spPr>
        <p:txBody>
          <a:bodyPr wrap="square" lIns="108000" tIns="72000" rIns="108000" bIns="72000">
            <a:no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7" name="Textplatzhalter 3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9" name="Abgerundetes Rechteck 42"/>
          <p:cNvSpPr/>
          <p:nvPr userDrawn="1"/>
        </p:nvSpPr>
        <p:spPr>
          <a:xfrm>
            <a:off x="12649206" y="6103753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72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Images</a:t>
            </a:r>
            <a:r>
              <a:rPr lang="en-US" sz="1100" dirty="0">
                <a:solidFill>
                  <a:srgbClr val="2D1E1C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must be exchanged </a:t>
            </a:r>
            <a:br>
              <a:rPr lang="en-US" sz="1100" dirty="0">
                <a:solidFill>
                  <a:schemeClr val="bg1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on the slide master</a:t>
            </a:r>
          </a:p>
        </p:txBody>
      </p:sp>
      <p:grpSp>
        <p:nvGrpSpPr>
          <p:cNvPr id="9" name="Gruppieren 8"/>
          <p:cNvGrpSpPr/>
          <p:nvPr userDrawn="1"/>
        </p:nvGrpSpPr>
        <p:grpSpPr bwMode="gray">
          <a:xfrm>
            <a:off x="0" y="796"/>
            <a:ext cx="12198350" cy="1624807"/>
            <a:chOff x="0" y="796"/>
            <a:chExt cx="12198350" cy="1624807"/>
          </a:xfrm>
        </p:grpSpPr>
        <p:sp>
          <p:nvSpPr>
            <p:cNvPr id="131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3" name="Freeform 11"/>
            <p:cNvSpPr>
              <a:spLocks/>
            </p:cNvSpPr>
            <p:nvPr userDrawn="1"/>
          </p:nvSpPr>
          <p:spPr bwMode="gray">
            <a:xfrm>
              <a:off x="0" y="1151075"/>
              <a:ext cx="12198350" cy="474528"/>
            </a:xfrm>
            <a:custGeom>
              <a:avLst/>
              <a:gdLst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4" fmla="*/ 93792 w 12207175"/>
                <a:gd name="connsiteY4" fmla="*/ 93820 h 1624807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2352 w 12207175"/>
                <a:gd name="connsiteY0" fmla="*/ 4126 h 1626553"/>
                <a:gd name="connsiteX1" fmla="*/ 31685 w 12207175"/>
                <a:gd name="connsiteY1" fmla="*/ 0 h 1626553"/>
                <a:gd name="connsiteX2" fmla="*/ 12207175 w 12207175"/>
                <a:gd name="connsiteY2" fmla="*/ 1746 h 1626553"/>
                <a:gd name="connsiteX3" fmla="*/ 12207175 w 12207175"/>
                <a:gd name="connsiteY3" fmla="*/ 1152025 h 1626553"/>
                <a:gd name="connsiteX4" fmla="*/ 0 w 12207175"/>
                <a:gd name="connsiteY4" fmla="*/ 1626553 h 1626553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12207175 w 12207175"/>
                <a:gd name="connsiteY0" fmla="*/ 0 h 1624807"/>
                <a:gd name="connsiteX1" fmla="*/ 12207175 w 12207175"/>
                <a:gd name="connsiteY1" fmla="*/ 1150279 h 1624807"/>
                <a:gd name="connsiteX2" fmla="*/ 0 w 12207175"/>
                <a:gd name="connsiteY2" fmla="*/ 1624807 h 1624807"/>
                <a:gd name="connsiteX0" fmla="*/ 12207175 w 12207175"/>
                <a:gd name="connsiteY0" fmla="*/ 0 h 474528"/>
                <a:gd name="connsiteX1" fmla="*/ 0 w 12207175"/>
                <a:gd name="connsiteY1" fmla="*/ 474528 h 47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07175" h="474528">
                  <a:moveTo>
                    <a:pt x="12207175" y="0"/>
                  </a:moveTo>
                  <a:cubicBezTo>
                    <a:pt x="9794392" y="10920"/>
                    <a:pt x="4154653" y="95989"/>
                    <a:pt x="0" y="474528"/>
                  </a:cubicBezTo>
                </a:path>
              </a:pathLst>
            </a:custGeom>
            <a:noFill/>
            <a:ln w="9525">
              <a:solidFill>
                <a:srgbClr val="F9B59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164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165" name="Freihandform 164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166" name="Freihandform 165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167" name="Freihandform 166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26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7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8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30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1" name="Picture 20"/>
              <p:cNvPicPr>
                <a:picLocks noChangeAspect="1" noChangeArrowheads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15766670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s wi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61509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1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6156" y="1020764"/>
            <a:ext cx="2117778" cy="2876549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44377" y="1020763"/>
            <a:ext cx="2117725" cy="287655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2600" y="1020763"/>
            <a:ext cx="2117725" cy="2876550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67931" y="1020764"/>
            <a:ext cx="2117725" cy="2876549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29710" y="1020763"/>
            <a:ext cx="2114603" cy="2876550"/>
          </a:xfrm>
          <a:prstGeom prst="rect">
            <a:avLst/>
          </a:prstGeom>
        </p:spPr>
      </p:pic>
      <p:sp>
        <p:nvSpPr>
          <p:cNvPr id="13" name="Textplatzhalt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2600" y="3897313"/>
            <a:ext cx="2117778" cy="2411412"/>
          </a:xfrm>
          <a:solidFill>
            <a:srgbClr val="FDDDCB"/>
          </a:solidFill>
        </p:spPr>
        <p:txBody>
          <a:bodyPr wrap="square" lIns="108000" tIns="72000" rIns="108000" bIns="72000">
            <a:no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57" name="Textplatzhalter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744377" y="3897313"/>
            <a:ext cx="2117778" cy="2411412"/>
          </a:xfrm>
          <a:solidFill>
            <a:srgbClr val="FDDDCB"/>
          </a:solidFill>
        </p:spPr>
        <p:txBody>
          <a:bodyPr wrap="square" lIns="108000" tIns="72000" rIns="108000" bIns="72000">
            <a:no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58" name="Textplatzhalter 1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006155" y="3897313"/>
            <a:ext cx="2117778" cy="2411412"/>
          </a:xfrm>
          <a:solidFill>
            <a:srgbClr val="FDDDCB"/>
          </a:solidFill>
        </p:spPr>
        <p:txBody>
          <a:bodyPr wrap="square" lIns="108000" tIns="72000" rIns="108000" bIns="72000">
            <a:no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59" name="Textplatzhalter 1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7267932" y="3897313"/>
            <a:ext cx="2117778" cy="2411412"/>
          </a:xfrm>
          <a:solidFill>
            <a:srgbClr val="FDDDCB"/>
          </a:solidFill>
        </p:spPr>
        <p:txBody>
          <a:bodyPr wrap="square" lIns="108000" tIns="72000" rIns="108000" bIns="72000">
            <a:no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60" name="Textplatzhalter 12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9529711" y="3897313"/>
            <a:ext cx="2114602" cy="2411412"/>
          </a:xfrm>
          <a:solidFill>
            <a:srgbClr val="FDDDCB"/>
          </a:solidFill>
        </p:spPr>
        <p:txBody>
          <a:bodyPr wrap="square" lIns="108000" tIns="72000" rIns="108000" bIns="72000">
            <a:noAutofit/>
          </a:bodyPr>
          <a:lstStyle>
            <a:lvl1pPr>
              <a:defRPr lang="en-US" sz="20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1088959" rtl="0" eaLnBrk="1" latinLnBrk="0" hangingPunct="1">
              <a:spcBef>
                <a:spcPct val="20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133" name="Textplatzhalter 3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4" name="Abgerundetes Rechteck 42"/>
          <p:cNvSpPr/>
          <p:nvPr userDrawn="1"/>
        </p:nvSpPr>
        <p:spPr>
          <a:xfrm>
            <a:off x="12649206" y="6103753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72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Images</a:t>
            </a:r>
            <a:r>
              <a:rPr lang="en-US" sz="1100" dirty="0">
                <a:solidFill>
                  <a:srgbClr val="2D1E1C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must be exchanged </a:t>
            </a:r>
            <a:br>
              <a:rPr lang="en-US" sz="1100" dirty="0">
                <a:solidFill>
                  <a:schemeClr val="bg1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on the slide master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0" y="796"/>
            <a:ext cx="12198350" cy="1624807"/>
            <a:chOff x="0" y="796"/>
            <a:chExt cx="12198350" cy="1624807"/>
          </a:xfrm>
        </p:grpSpPr>
        <p:sp>
          <p:nvSpPr>
            <p:cNvPr id="137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9" name="Freeform 11"/>
            <p:cNvSpPr>
              <a:spLocks/>
            </p:cNvSpPr>
            <p:nvPr userDrawn="1"/>
          </p:nvSpPr>
          <p:spPr bwMode="gray">
            <a:xfrm>
              <a:off x="0" y="1151075"/>
              <a:ext cx="12198350" cy="474528"/>
            </a:xfrm>
            <a:custGeom>
              <a:avLst/>
              <a:gdLst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4" fmla="*/ 93792 w 12207175"/>
                <a:gd name="connsiteY4" fmla="*/ 93820 h 1624807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2352 w 12207175"/>
                <a:gd name="connsiteY0" fmla="*/ 4126 h 1626553"/>
                <a:gd name="connsiteX1" fmla="*/ 31685 w 12207175"/>
                <a:gd name="connsiteY1" fmla="*/ 0 h 1626553"/>
                <a:gd name="connsiteX2" fmla="*/ 12207175 w 12207175"/>
                <a:gd name="connsiteY2" fmla="*/ 1746 h 1626553"/>
                <a:gd name="connsiteX3" fmla="*/ 12207175 w 12207175"/>
                <a:gd name="connsiteY3" fmla="*/ 1152025 h 1626553"/>
                <a:gd name="connsiteX4" fmla="*/ 0 w 12207175"/>
                <a:gd name="connsiteY4" fmla="*/ 1626553 h 1626553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12207175 w 12207175"/>
                <a:gd name="connsiteY0" fmla="*/ 0 h 1624807"/>
                <a:gd name="connsiteX1" fmla="*/ 12207175 w 12207175"/>
                <a:gd name="connsiteY1" fmla="*/ 1150279 h 1624807"/>
                <a:gd name="connsiteX2" fmla="*/ 0 w 12207175"/>
                <a:gd name="connsiteY2" fmla="*/ 1624807 h 1624807"/>
                <a:gd name="connsiteX0" fmla="*/ 12207175 w 12207175"/>
                <a:gd name="connsiteY0" fmla="*/ 0 h 474528"/>
                <a:gd name="connsiteX1" fmla="*/ 0 w 12207175"/>
                <a:gd name="connsiteY1" fmla="*/ 474528 h 47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07175" h="474528">
                  <a:moveTo>
                    <a:pt x="12207175" y="0"/>
                  </a:moveTo>
                  <a:cubicBezTo>
                    <a:pt x="9794392" y="10920"/>
                    <a:pt x="4154653" y="95989"/>
                    <a:pt x="0" y="474528"/>
                  </a:cubicBezTo>
                </a:path>
              </a:pathLst>
            </a:custGeom>
            <a:noFill/>
            <a:ln w="9525">
              <a:solidFill>
                <a:srgbClr val="F9B59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170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171" name="Freihandform 170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172" name="Freihandform 171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173" name="Freihandform 172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28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9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30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33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40" name="Picture 20"/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5246527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620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Picture 1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 userDrawn="1"/>
        </p:nvSpPr>
        <p:spPr>
          <a:xfrm>
            <a:off x="482600" y="1152942"/>
            <a:ext cx="3627438" cy="5155784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7" name="Bildplatzhalter 6"/>
          <p:cNvSpPr>
            <a:spLocks noGrp="1"/>
          </p:cNvSpPr>
          <p:nvPr userDrawn="1">
            <p:ph type="pic" sz="quarter" idx="19" hasCustomPrompt="1"/>
          </p:nvPr>
        </p:nvSpPr>
        <p:spPr>
          <a:xfrm>
            <a:off x="482600" y="1881189"/>
            <a:ext cx="3627438" cy="2016124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9" name="Textplatzhalter 8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145547" y="1881189"/>
            <a:ext cx="5746215" cy="28289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quotation</a:t>
            </a:r>
          </a:p>
        </p:txBody>
      </p:sp>
      <p:sp>
        <p:nvSpPr>
          <p:cNvPr id="113" name="Textfeld 112"/>
          <p:cNvSpPr txBox="1"/>
          <p:nvPr userDrawn="1"/>
        </p:nvSpPr>
        <p:spPr>
          <a:xfrm>
            <a:off x="4054622" y="1436400"/>
            <a:ext cx="859154" cy="877210"/>
          </a:xfrm>
          <a:prstGeom prst="rect">
            <a:avLst/>
          </a:prstGeom>
          <a:noFill/>
          <a:ln>
            <a:noFill/>
          </a:ln>
        </p:spPr>
        <p:txBody>
          <a:bodyPr wrap="square" lIns="108000" tIns="108000" rIns="108000" bIns="108000" rtlCol="0"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0" b="0" noProof="0" dirty="0">
                <a:solidFill>
                  <a:schemeClr val="accent1"/>
                </a:solidFill>
                <a:latin typeface="Calibri" panose="020F0502020204030204" pitchFamily="34" charset="0"/>
              </a:rPr>
              <a:t>“</a:t>
            </a:r>
          </a:p>
        </p:txBody>
      </p:sp>
      <p:sp>
        <p:nvSpPr>
          <p:cNvPr id="114" name="Textfeld 113"/>
          <p:cNvSpPr txBox="1"/>
          <p:nvPr userDrawn="1"/>
        </p:nvSpPr>
        <p:spPr>
          <a:xfrm>
            <a:off x="10891763" y="5260910"/>
            <a:ext cx="822194" cy="853824"/>
          </a:xfrm>
          <a:prstGeom prst="rect">
            <a:avLst/>
          </a:prstGeom>
          <a:noFill/>
          <a:ln>
            <a:noFill/>
          </a:ln>
        </p:spPr>
        <p:txBody>
          <a:bodyPr wrap="square" lIns="108000" tIns="108000" rIns="108000" bIns="108000" rtlCol="0"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0" b="0" noProof="0" dirty="0">
                <a:solidFill>
                  <a:schemeClr val="accent1"/>
                </a:solidFill>
                <a:latin typeface="Calibri" panose="020F0502020204030204" pitchFamily="34" charset="0"/>
              </a:rPr>
              <a:t>”</a:t>
            </a:r>
          </a:p>
        </p:txBody>
      </p:sp>
      <p:sp>
        <p:nvSpPr>
          <p:cNvPr id="51" name="Textplatzhalter 50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658019" y="4040188"/>
            <a:ext cx="3276600" cy="892552"/>
          </a:xfrm>
        </p:spPr>
        <p:txBody>
          <a:bodyPr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  <a:lvl2pPr marL="0" indent="0">
              <a:buNone/>
              <a:defRPr sz="160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Company</a:t>
            </a:r>
            <a:br>
              <a:rPr lang="en-US" dirty="0"/>
            </a:br>
            <a:r>
              <a:rPr lang="en-US" dirty="0"/>
              <a:t>City, Country</a:t>
            </a:r>
          </a:p>
        </p:txBody>
      </p:sp>
      <p:sp>
        <p:nvSpPr>
          <p:cNvPr id="115" name="Textplatzhalter 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1" y="796"/>
            <a:ext cx="12198350" cy="1624807"/>
            <a:chOff x="1" y="796"/>
            <a:chExt cx="12198350" cy="1624807"/>
          </a:xfrm>
        </p:grpSpPr>
        <p:sp>
          <p:nvSpPr>
            <p:cNvPr id="112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7" name="Freeform 11"/>
            <p:cNvSpPr>
              <a:spLocks/>
            </p:cNvSpPr>
            <p:nvPr userDrawn="1"/>
          </p:nvSpPr>
          <p:spPr bwMode="gray">
            <a:xfrm>
              <a:off x="1" y="1151075"/>
              <a:ext cx="12198350" cy="474528"/>
            </a:xfrm>
            <a:custGeom>
              <a:avLst/>
              <a:gdLst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4" fmla="*/ 93792 w 12207175"/>
                <a:gd name="connsiteY4" fmla="*/ 93820 h 1624807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2352 w 12207175"/>
                <a:gd name="connsiteY0" fmla="*/ 4126 h 1626553"/>
                <a:gd name="connsiteX1" fmla="*/ 31685 w 12207175"/>
                <a:gd name="connsiteY1" fmla="*/ 0 h 1626553"/>
                <a:gd name="connsiteX2" fmla="*/ 12207175 w 12207175"/>
                <a:gd name="connsiteY2" fmla="*/ 1746 h 1626553"/>
                <a:gd name="connsiteX3" fmla="*/ 12207175 w 12207175"/>
                <a:gd name="connsiteY3" fmla="*/ 1152025 h 1626553"/>
                <a:gd name="connsiteX4" fmla="*/ 0 w 12207175"/>
                <a:gd name="connsiteY4" fmla="*/ 1626553 h 1626553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12207175 w 12207175"/>
                <a:gd name="connsiteY0" fmla="*/ 0 h 1624807"/>
                <a:gd name="connsiteX1" fmla="*/ 12207175 w 12207175"/>
                <a:gd name="connsiteY1" fmla="*/ 1150279 h 1624807"/>
                <a:gd name="connsiteX2" fmla="*/ 0 w 12207175"/>
                <a:gd name="connsiteY2" fmla="*/ 1624807 h 1624807"/>
                <a:gd name="connsiteX0" fmla="*/ 12207175 w 12207175"/>
                <a:gd name="connsiteY0" fmla="*/ 0 h 474528"/>
                <a:gd name="connsiteX1" fmla="*/ 0 w 12207175"/>
                <a:gd name="connsiteY1" fmla="*/ 474528 h 47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07175" h="474528">
                  <a:moveTo>
                    <a:pt x="12207175" y="0"/>
                  </a:moveTo>
                  <a:cubicBezTo>
                    <a:pt x="9794392" y="10920"/>
                    <a:pt x="4154653" y="95989"/>
                    <a:pt x="0" y="474528"/>
                  </a:cubicBezTo>
                </a:path>
              </a:pathLst>
            </a:custGeom>
            <a:noFill/>
            <a:ln w="9525">
              <a:solidFill>
                <a:srgbClr val="F9B59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148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149" name="Freihandform 148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150" name="Freihandform 149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151" name="Freihandform 150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1986411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75270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Picture 1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lipse 5"/>
          <p:cNvSpPr/>
          <p:nvPr userDrawn="1"/>
        </p:nvSpPr>
        <p:spPr>
          <a:xfrm>
            <a:off x="8633220" y="939800"/>
            <a:ext cx="3563580" cy="5368926"/>
          </a:xfrm>
          <a:custGeom>
            <a:avLst/>
            <a:gdLst/>
            <a:ahLst/>
            <a:cxnLst/>
            <a:rect l="l" t="t" r="r" b="b"/>
            <a:pathLst>
              <a:path w="3563580" h="5368926">
                <a:moveTo>
                  <a:pt x="785598" y="0"/>
                </a:moveTo>
                <a:lnTo>
                  <a:pt x="3563580" y="0"/>
                </a:lnTo>
                <a:lnTo>
                  <a:pt x="3563580" y="5368926"/>
                </a:lnTo>
                <a:lnTo>
                  <a:pt x="615818" y="5368926"/>
                </a:lnTo>
                <a:cubicBezTo>
                  <a:pt x="231634" y="4691704"/>
                  <a:pt x="0" y="3798970"/>
                  <a:pt x="0" y="2820989"/>
                </a:cubicBezTo>
                <a:cubicBezTo>
                  <a:pt x="0" y="1705406"/>
                  <a:pt x="301401" y="700744"/>
                  <a:pt x="785598" y="0"/>
                </a:cubicBezTo>
                <a:close/>
              </a:path>
            </a:pathLst>
          </a:cu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dirty="0"/>
          </a:p>
        </p:txBody>
      </p:sp>
      <p:sp>
        <p:nvSpPr>
          <p:cNvPr id="7" name="Bildplatzhalter 6"/>
          <p:cNvSpPr>
            <a:spLocks noGrp="1"/>
          </p:cNvSpPr>
          <p:nvPr userDrawn="1">
            <p:ph type="pic" sz="quarter" idx="19" hasCustomPrompt="1"/>
          </p:nvPr>
        </p:nvSpPr>
        <p:spPr>
          <a:xfrm>
            <a:off x="9191625" y="3050714"/>
            <a:ext cx="2455863" cy="2600923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9" name="Textplatzhalter 8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1268873" y="1881189"/>
            <a:ext cx="5701270" cy="28289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quotation</a:t>
            </a:r>
          </a:p>
        </p:txBody>
      </p:sp>
      <p:sp>
        <p:nvSpPr>
          <p:cNvPr id="112" name="Textfeld 111"/>
          <p:cNvSpPr txBox="1"/>
          <p:nvPr userDrawn="1"/>
        </p:nvSpPr>
        <p:spPr>
          <a:xfrm>
            <a:off x="254784" y="1436400"/>
            <a:ext cx="859154" cy="877210"/>
          </a:xfrm>
          <a:prstGeom prst="rect">
            <a:avLst/>
          </a:prstGeom>
          <a:noFill/>
          <a:ln>
            <a:noFill/>
          </a:ln>
        </p:spPr>
        <p:txBody>
          <a:bodyPr wrap="square" lIns="108000" tIns="108000" rIns="108000" bIns="108000" rtlCol="0"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0" b="0" noProof="0" dirty="0">
                <a:solidFill>
                  <a:schemeClr val="accent1"/>
                </a:solidFill>
                <a:latin typeface="Calibri" panose="020F0502020204030204" pitchFamily="34" charset="0"/>
              </a:rPr>
              <a:t>“</a:t>
            </a:r>
          </a:p>
        </p:txBody>
      </p:sp>
      <p:sp>
        <p:nvSpPr>
          <p:cNvPr id="113" name="Textfeld 112"/>
          <p:cNvSpPr txBox="1"/>
          <p:nvPr userDrawn="1"/>
        </p:nvSpPr>
        <p:spPr>
          <a:xfrm>
            <a:off x="7054981" y="5260910"/>
            <a:ext cx="822194" cy="853824"/>
          </a:xfrm>
          <a:prstGeom prst="rect">
            <a:avLst/>
          </a:prstGeom>
          <a:noFill/>
          <a:ln>
            <a:noFill/>
          </a:ln>
        </p:spPr>
        <p:txBody>
          <a:bodyPr wrap="square" lIns="108000" tIns="108000" rIns="108000" bIns="108000" rtlCol="0"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0" b="0" noProof="0" dirty="0">
                <a:solidFill>
                  <a:schemeClr val="accent1"/>
                </a:solidFill>
                <a:latin typeface="Calibri" panose="020F0502020204030204" pitchFamily="34" charset="0"/>
              </a:rPr>
              <a:t>”</a:t>
            </a:r>
          </a:p>
        </p:txBody>
      </p:sp>
      <p:sp>
        <p:nvSpPr>
          <p:cNvPr id="114" name="Textplatzhalter 50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9191625" y="2014162"/>
            <a:ext cx="2455863" cy="892552"/>
          </a:xfrm>
        </p:spPr>
        <p:txBody>
          <a:bodyPr wrap="square" anchor="b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  <a:lvl2pPr marL="0" indent="0">
              <a:buNone/>
              <a:defRPr sz="160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Company</a:t>
            </a:r>
            <a:br>
              <a:rPr lang="en-US" dirty="0"/>
            </a:br>
            <a:r>
              <a:rPr lang="en-US" dirty="0"/>
              <a:t>City, Country</a:t>
            </a:r>
          </a:p>
        </p:txBody>
      </p:sp>
      <p:sp>
        <p:nvSpPr>
          <p:cNvPr id="115" name="Textplatzhalter 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" name="Gruppieren 2"/>
          <p:cNvGrpSpPr/>
          <p:nvPr userDrawn="1"/>
        </p:nvGrpSpPr>
        <p:grpSpPr bwMode="gray">
          <a:xfrm>
            <a:off x="0" y="796"/>
            <a:ext cx="12198350" cy="1624807"/>
            <a:chOff x="0" y="796"/>
            <a:chExt cx="12198350" cy="1624807"/>
          </a:xfrm>
        </p:grpSpPr>
        <p:sp>
          <p:nvSpPr>
            <p:cNvPr id="116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8" name="Freeform 11"/>
            <p:cNvSpPr>
              <a:spLocks/>
            </p:cNvSpPr>
            <p:nvPr userDrawn="1"/>
          </p:nvSpPr>
          <p:spPr bwMode="gray">
            <a:xfrm>
              <a:off x="0" y="1151075"/>
              <a:ext cx="12198350" cy="474528"/>
            </a:xfrm>
            <a:custGeom>
              <a:avLst/>
              <a:gdLst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4" fmla="*/ 93792 w 12207175"/>
                <a:gd name="connsiteY4" fmla="*/ 93820 h 1624807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2352 w 12207175"/>
                <a:gd name="connsiteY0" fmla="*/ 4126 h 1626553"/>
                <a:gd name="connsiteX1" fmla="*/ 31685 w 12207175"/>
                <a:gd name="connsiteY1" fmla="*/ 0 h 1626553"/>
                <a:gd name="connsiteX2" fmla="*/ 12207175 w 12207175"/>
                <a:gd name="connsiteY2" fmla="*/ 1746 h 1626553"/>
                <a:gd name="connsiteX3" fmla="*/ 12207175 w 12207175"/>
                <a:gd name="connsiteY3" fmla="*/ 1152025 h 1626553"/>
                <a:gd name="connsiteX4" fmla="*/ 0 w 12207175"/>
                <a:gd name="connsiteY4" fmla="*/ 1626553 h 1626553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12207175 w 12207175"/>
                <a:gd name="connsiteY0" fmla="*/ 0 h 1624807"/>
                <a:gd name="connsiteX1" fmla="*/ 12207175 w 12207175"/>
                <a:gd name="connsiteY1" fmla="*/ 1150279 h 1624807"/>
                <a:gd name="connsiteX2" fmla="*/ 0 w 12207175"/>
                <a:gd name="connsiteY2" fmla="*/ 1624807 h 1624807"/>
                <a:gd name="connsiteX0" fmla="*/ 12207175 w 12207175"/>
                <a:gd name="connsiteY0" fmla="*/ 0 h 474528"/>
                <a:gd name="connsiteX1" fmla="*/ 0 w 12207175"/>
                <a:gd name="connsiteY1" fmla="*/ 474528 h 47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07175" h="474528">
                  <a:moveTo>
                    <a:pt x="12207175" y="0"/>
                  </a:moveTo>
                  <a:cubicBezTo>
                    <a:pt x="9794392" y="10920"/>
                    <a:pt x="4154653" y="95989"/>
                    <a:pt x="0" y="474528"/>
                  </a:cubicBezTo>
                </a:path>
              </a:pathLst>
            </a:custGeom>
            <a:noFill/>
            <a:ln w="9525">
              <a:solidFill>
                <a:srgbClr val="F9B59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149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150" name="Freihandform 149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151" name="Freihandform 150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152" name="Freihandform 151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179539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fullscreen a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85300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Picture 1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/>
          <a:srcRect l="49685"/>
          <a:stretch>
            <a:fillRect/>
          </a:stretch>
        </p:blipFill>
        <p:spPr>
          <a:xfrm>
            <a:off x="4943475" y="341312"/>
            <a:ext cx="6357938" cy="5967413"/>
          </a:xfrm>
          <a:prstGeom prst="rect">
            <a:avLst/>
          </a:prstGeom>
        </p:spPr>
      </p:pic>
      <p:grpSp>
        <p:nvGrpSpPr>
          <p:cNvPr id="2" name="Gruppieren 1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76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109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110" name="Freihandform 109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111" name="Freihandform 110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112" name="Freihandform 111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11" name="Abgerundetes Rechteck 42"/>
          <p:cNvSpPr/>
          <p:nvPr userDrawn="1"/>
        </p:nvSpPr>
        <p:spPr>
          <a:xfrm>
            <a:off x="12649206" y="1627003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Image</a:t>
            </a:r>
            <a:r>
              <a:rPr lang="en-US" sz="1100" dirty="0">
                <a:solidFill>
                  <a:srgbClr val="2D1E1C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must be exchanged on the slide master</a:t>
            </a:r>
          </a:p>
        </p:txBody>
      </p:sp>
      <p:sp>
        <p:nvSpPr>
          <p:cNvPr id="73" name="Titel 72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2147600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1205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Picture 1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809" y="3175"/>
            <a:ext cx="12195206" cy="6305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2601" y="936400"/>
            <a:ext cx="9144000" cy="1107996"/>
          </a:xfrm>
        </p:spPr>
        <p:txBody>
          <a:bodyPr anchor="b">
            <a:spAutoFit/>
          </a:bodyPr>
          <a:lstStyle>
            <a:lvl1pPr>
              <a:spcBef>
                <a:spcPts val="0"/>
              </a:spcBef>
              <a:defRPr sz="360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       Single large image</a:t>
            </a:r>
            <a:br>
              <a:rPr lang="en-US" dirty="0"/>
            </a:br>
            <a:r>
              <a:rPr lang="en-US" dirty="0"/>
              <a:t>Intro title Calibri bold, 36 </a:t>
            </a:r>
            <a:r>
              <a:rPr lang="en-US" dirty="0" err="1"/>
              <a:t>pt</a:t>
            </a:r>
            <a:r>
              <a:rPr lang="en-US" dirty="0"/>
              <a:t>,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82600" y="2052590"/>
            <a:ext cx="7394575" cy="2215991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    Headline, Title </a:t>
            </a:r>
            <a:br>
              <a:rPr lang="en-US" dirty="0"/>
            </a:br>
            <a:r>
              <a:rPr lang="en-US" dirty="0"/>
              <a:t>Calibri Bold, 48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       lorem ipsum</a:t>
            </a:r>
          </a:p>
        </p:txBody>
      </p:sp>
      <p:sp>
        <p:nvSpPr>
          <p:cNvPr id="9" name="Abgerundetes Rechteck 42"/>
          <p:cNvSpPr/>
          <p:nvPr userDrawn="1"/>
        </p:nvSpPr>
        <p:spPr>
          <a:xfrm>
            <a:off x="12649206" y="1627003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Image</a:t>
            </a:r>
            <a:r>
              <a:rPr lang="en-US" sz="1100" dirty="0">
                <a:solidFill>
                  <a:srgbClr val="2D1E1C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must be exchanged on the slide mast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423816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00840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4193"/>
            <a:ext cx="7856750" cy="5153279"/>
          </a:xfrm>
          <a:prstGeom prst="rect">
            <a:avLst/>
          </a:prstGeom>
        </p:spPr>
      </p:pic>
      <p:sp>
        <p:nvSpPr>
          <p:cNvPr id="77" name="Freeform 5"/>
          <p:cNvSpPr>
            <a:spLocks/>
          </p:cNvSpPr>
          <p:nvPr userDrawn="1"/>
        </p:nvSpPr>
        <p:spPr bwMode="auto">
          <a:xfrm>
            <a:off x="6172679" y="1"/>
            <a:ext cx="6029325" cy="6308725"/>
          </a:xfrm>
          <a:custGeom>
            <a:avLst/>
            <a:gdLst/>
            <a:ahLst/>
            <a:cxnLst/>
            <a:rect l="l" t="t" r="r" b="b"/>
            <a:pathLst>
              <a:path w="6029325" h="6308725">
                <a:moveTo>
                  <a:pt x="1460500" y="0"/>
                </a:moveTo>
                <a:lnTo>
                  <a:pt x="6029325" y="0"/>
                </a:lnTo>
                <a:lnTo>
                  <a:pt x="6029325" y="6308725"/>
                </a:lnTo>
                <a:lnTo>
                  <a:pt x="654617" y="6308725"/>
                </a:lnTo>
                <a:lnTo>
                  <a:pt x="622300" y="6248400"/>
                </a:lnTo>
                <a:lnTo>
                  <a:pt x="574675" y="6156325"/>
                </a:lnTo>
                <a:lnTo>
                  <a:pt x="530225" y="6064250"/>
                </a:lnTo>
                <a:lnTo>
                  <a:pt x="485775" y="5972175"/>
                </a:lnTo>
                <a:lnTo>
                  <a:pt x="444500" y="5876925"/>
                </a:lnTo>
                <a:lnTo>
                  <a:pt x="403225" y="5781675"/>
                </a:lnTo>
                <a:lnTo>
                  <a:pt x="365125" y="5686425"/>
                </a:lnTo>
                <a:lnTo>
                  <a:pt x="330200" y="5588000"/>
                </a:lnTo>
                <a:lnTo>
                  <a:pt x="295275" y="5492750"/>
                </a:lnTo>
                <a:lnTo>
                  <a:pt x="263525" y="5391150"/>
                </a:lnTo>
                <a:lnTo>
                  <a:pt x="231775" y="5292725"/>
                </a:lnTo>
                <a:lnTo>
                  <a:pt x="203200" y="5194300"/>
                </a:lnTo>
                <a:lnTo>
                  <a:pt x="174625" y="5092700"/>
                </a:lnTo>
                <a:lnTo>
                  <a:pt x="149225" y="4991100"/>
                </a:lnTo>
                <a:lnTo>
                  <a:pt x="127000" y="4889500"/>
                </a:lnTo>
                <a:lnTo>
                  <a:pt x="104775" y="4784725"/>
                </a:lnTo>
                <a:lnTo>
                  <a:pt x="85725" y="4679950"/>
                </a:lnTo>
                <a:lnTo>
                  <a:pt x="69850" y="4575175"/>
                </a:lnTo>
                <a:lnTo>
                  <a:pt x="53975" y="4470400"/>
                </a:lnTo>
                <a:lnTo>
                  <a:pt x="38100" y="4365625"/>
                </a:lnTo>
                <a:lnTo>
                  <a:pt x="28575" y="4257675"/>
                </a:lnTo>
                <a:lnTo>
                  <a:pt x="19050" y="4152900"/>
                </a:lnTo>
                <a:lnTo>
                  <a:pt x="12700" y="4044950"/>
                </a:lnTo>
                <a:lnTo>
                  <a:pt x="6350" y="3937000"/>
                </a:lnTo>
                <a:lnTo>
                  <a:pt x="3175" y="3825875"/>
                </a:lnTo>
                <a:lnTo>
                  <a:pt x="0" y="3717925"/>
                </a:lnTo>
                <a:lnTo>
                  <a:pt x="3175" y="3584575"/>
                </a:lnTo>
                <a:lnTo>
                  <a:pt x="9525" y="3451225"/>
                </a:lnTo>
                <a:lnTo>
                  <a:pt x="15875" y="3317875"/>
                </a:lnTo>
                <a:lnTo>
                  <a:pt x="28575" y="3184525"/>
                </a:lnTo>
                <a:lnTo>
                  <a:pt x="41275" y="3054350"/>
                </a:lnTo>
                <a:lnTo>
                  <a:pt x="57150" y="2924175"/>
                </a:lnTo>
                <a:lnTo>
                  <a:pt x="79375" y="2797175"/>
                </a:lnTo>
                <a:lnTo>
                  <a:pt x="101600" y="2667000"/>
                </a:lnTo>
                <a:lnTo>
                  <a:pt x="127000" y="2540000"/>
                </a:lnTo>
                <a:lnTo>
                  <a:pt x="158750" y="2416175"/>
                </a:lnTo>
                <a:lnTo>
                  <a:pt x="190500" y="2292350"/>
                </a:lnTo>
                <a:lnTo>
                  <a:pt x="225425" y="2168525"/>
                </a:lnTo>
                <a:lnTo>
                  <a:pt x="263525" y="2044700"/>
                </a:lnTo>
                <a:lnTo>
                  <a:pt x="301625" y="1924050"/>
                </a:lnTo>
                <a:lnTo>
                  <a:pt x="346075" y="1803400"/>
                </a:lnTo>
                <a:lnTo>
                  <a:pt x="390525" y="1685925"/>
                </a:lnTo>
                <a:lnTo>
                  <a:pt x="441325" y="1568450"/>
                </a:lnTo>
                <a:lnTo>
                  <a:pt x="492125" y="1454150"/>
                </a:lnTo>
                <a:lnTo>
                  <a:pt x="546100" y="1339850"/>
                </a:lnTo>
                <a:lnTo>
                  <a:pt x="600075" y="1225550"/>
                </a:lnTo>
                <a:lnTo>
                  <a:pt x="660400" y="1114425"/>
                </a:lnTo>
                <a:lnTo>
                  <a:pt x="720725" y="1006475"/>
                </a:lnTo>
                <a:lnTo>
                  <a:pt x="784225" y="895350"/>
                </a:lnTo>
                <a:lnTo>
                  <a:pt x="850900" y="790575"/>
                </a:lnTo>
                <a:lnTo>
                  <a:pt x="917575" y="685800"/>
                </a:lnTo>
                <a:lnTo>
                  <a:pt x="990600" y="581025"/>
                </a:lnTo>
                <a:lnTo>
                  <a:pt x="1063625" y="479425"/>
                </a:lnTo>
                <a:lnTo>
                  <a:pt x="1136650" y="381000"/>
                </a:lnTo>
                <a:lnTo>
                  <a:pt x="1216025" y="282575"/>
                </a:lnTo>
                <a:lnTo>
                  <a:pt x="1295400" y="187325"/>
                </a:lnTo>
                <a:lnTo>
                  <a:pt x="1377950" y="92075"/>
                </a:lnTo>
                <a:close/>
              </a:path>
            </a:pathLst>
          </a:custGeom>
          <a:solidFill>
            <a:srgbClr val="A6A2A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/>
          </a:p>
        </p:txBody>
      </p:sp>
      <p:sp>
        <p:nvSpPr>
          <p:cNvPr id="115" name="Textplatzhalter 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242629" y="1628775"/>
            <a:ext cx="4384221" cy="2308324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head, Calibri, 2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445001" y="3104374"/>
            <a:ext cx="1581151" cy="1581151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bgerundetes Rechteck 42"/>
          <p:cNvSpPr/>
          <p:nvPr userDrawn="1"/>
        </p:nvSpPr>
        <p:spPr>
          <a:xfrm>
            <a:off x="12649206" y="6103753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72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Images</a:t>
            </a:r>
            <a:r>
              <a:rPr lang="en-US" sz="1100" dirty="0">
                <a:solidFill>
                  <a:srgbClr val="2D1E1C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must be exchanged </a:t>
            </a:r>
            <a:br>
              <a:rPr lang="en-US" sz="1100" dirty="0">
                <a:solidFill>
                  <a:schemeClr val="bg1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on the slide master</a:t>
            </a:r>
          </a:p>
        </p:txBody>
      </p:sp>
      <p:grpSp>
        <p:nvGrpSpPr>
          <p:cNvPr id="3" name="Gruppieren 2"/>
          <p:cNvGrpSpPr/>
          <p:nvPr userDrawn="1"/>
        </p:nvGrpSpPr>
        <p:grpSpPr bwMode="gray">
          <a:xfrm>
            <a:off x="1" y="796"/>
            <a:ext cx="12198350" cy="1624807"/>
            <a:chOff x="1" y="796"/>
            <a:chExt cx="12198350" cy="1624807"/>
          </a:xfrm>
        </p:grpSpPr>
        <p:sp>
          <p:nvSpPr>
            <p:cNvPr id="113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6" name="Freeform 11"/>
            <p:cNvSpPr>
              <a:spLocks/>
            </p:cNvSpPr>
            <p:nvPr userDrawn="1"/>
          </p:nvSpPr>
          <p:spPr bwMode="gray">
            <a:xfrm>
              <a:off x="1" y="1151075"/>
              <a:ext cx="12198350" cy="474528"/>
            </a:xfrm>
            <a:custGeom>
              <a:avLst/>
              <a:gdLst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4" fmla="*/ 93792 w 12207175"/>
                <a:gd name="connsiteY4" fmla="*/ 93820 h 1624807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2352 w 12207175"/>
                <a:gd name="connsiteY0" fmla="*/ 4126 h 1626553"/>
                <a:gd name="connsiteX1" fmla="*/ 31685 w 12207175"/>
                <a:gd name="connsiteY1" fmla="*/ 0 h 1626553"/>
                <a:gd name="connsiteX2" fmla="*/ 12207175 w 12207175"/>
                <a:gd name="connsiteY2" fmla="*/ 1746 h 1626553"/>
                <a:gd name="connsiteX3" fmla="*/ 12207175 w 12207175"/>
                <a:gd name="connsiteY3" fmla="*/ 1152025 h 1626553"/>
                <a:gd name="connsiteX4" fmla="*/ 0 w 12207175"/>
                <a:gd name="connsiteY4" fmla="*/ 1626553 h 1626553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12207175 w 12207175"/>
                <a:gd name="connsiteY0" fmla="*/ 0 h 1624807"/>
                <a:gd name="connsiteX1" fmla="*/ 12207175 w 12207175"/>
                <a:gd name="connsiteY1" fmla="*/ 1150279 h 1624807"/>
                <a:gd name="connsiteX2" fmla="*/ 0 w 12207175"/>
                <a:gd name="connsiteY2" fmla="*/ 1624807 h 1624807"/>
                <a:gd name="connsiteX0" fmla="*/ 12207175 w 12207175"/>
                <a:gd name="connsiteY0" fmla="*/ 0 h 474528"/>
                <a:gd name="connsiteX1" fmla="*/ 0 w 12207175"/>
                <a:gd name="connsiteY1" fmla="*/ 474528 h 47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07175" h="474528">
                  <a:moveTo>
                    <a:pt x="12207175" y="0"/>
                  </a:moveTo>
                  <a:cubicBezTo>
                    <a:pt x="9794392" y="10920"/>
                    <a:pt x="4154653" y="95989"/>
                    <a:pt x="0" y="474528"/>
                  </a:cubicBezTo>
                </a:path>
              </a:pathLst>
            </a:custGeom>
            <a:noFill/>
            <a:ln w="9525">
              <a:solidFill>
                <a:srgbClr val="F9B59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20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21" name="Freihandform 20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22" name="Freihandform 21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23" name="Freihandform 22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29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30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31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32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3" name="Picture 20"/>
              <p:cNvPicPr>
                <a:picLocks noChangeAspect="1" noChangeArrowheads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91130765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3462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7" name="Grafik 11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4193"/>
            <a:ext cx="7856750" cy="5153279"/>
          </a:xfrm>
          <a:prstGeom prst="rect">
            <a:avLst/>
          </a:prstGeom>
        </p:spPr>
      </p:pic>
      <p:sp>
        <p:nvSpPr>
          <p:cNvPr id="77" name="Freeform 5"/>
          <p:cNvSpPr>
            <a:spLocks/>
          </p:cNvSpPr>
          <p:nvPr userDrawn="1"/>
        </p:nvSpPr>
        <p:spPr bwMode="auto">
          <a:xfrm>
            <a:off x="6172679" y="1"/>
            <a:ext cx="6029325" cy="6308725"/>
          </a:xfrm>
          <a:custGeom>
            <a:avLst/>
            <a:gdLst/>
            <a:ahLst/>
            <a:cxnLst/>
            <a:rect l="l" t="t" r="r" b="b"/>
            <a:pathLst>
              <a:path w="6029325" h="6308725">
                <a:moveTo>
                  <a:pt x="1460500" y="0"/>
                </a:moveTo>
                <a:lnTo>
                  <a:pt x="6029325" y="0"/>
                </a:lnTo>
                <a:lnTo>
                  <a:pt x="6029325" y="6308725"/>
                </a:lnTo>
                <a:lnTo>
                  <a:pt x="654617" y="6308725"/>
                </a:lnTo>
                <a:lnTo>
                  <a:pt x="622300" y="6248400"/>
                </a:lnTo>
                <a:lnTo>
                  <a:pt x="574675" y="6156325"/>
                </a:lnTo>
                <a:lnTo>
                  <a:pt x="530225" y="6064250"/>
                </a:lnTo>
                <a:lnTo>
                  <a:pt x="485775" y="5972175"/>
                </a:lnTo>
                <a:lnTo>
                  <a:pt x="444500" y="5876925"/>
                </a:lnTo>
                <a:lnTo>
                  <a:pt x="403225" y="5781675"/>
                </a:lnTo>
                <a:lnTo>
                  <a:pt x="365125" y="5686425"/>
                </a:lnTo>
                <a:lnTo>
                  <a:pt x="330200" y="5588000"/>
                </a:lnTo>
                <a:lnTo>
                  <a:pt x="295275" y="5492750"/>
                </a:lnTo>
                <a:lnTo>
                  <a:pt x="263525" y="5391150"/>
                </a:lnTo>
                <a:lnTo>
                  <a:pt x="231775" y="5292725"/>
                </a:lnTo>
                <a:lnTo>
                  <a:pt x="203200" y="5194300"/>
                </a:lnTo>
                <a:lnTo>
                  <a:pt x="174625" y="5092700"/>
                </a:lnTo>
                <a:lnTo>
                  <a:pt x="149225" y="4991100"/>
                </a:lnTo>
                <a:lnTo>
                  <a:pt x="127000" y="4889500"/>
                </a:lnTo>
                <a:lnTo>
                  <a:pt x="104775" y="4784725"/>
                </a:lnTo>
                <a:lnTo>
                  <a:pt x="85725" y="4679950"/>
                </a:lnTo>
                <a:lnTo>
                  <a:pt x="69850" y="4575175"/>
                </a:lnTo>
                <a:lnTo>
                  <a:pt x="53975" y="4470400"/>
                </a:lnTo>
                <a:lnTo>
                  <a:pt x="38100" y="4365625"/>
                </a:lnTo>
                <a:lnTo>
                  <a:pt x="28575" y="4257675"/>
                </a:lnTo>
                <a:lnTo>
                  <a:pt x="19050" y="4152900"/>
                </a:lnTo>
                <a:lnTo>
                  <a:pt x="12700" y="4044950"/>
                </a:lnTo>
                <a:lnTo>
                  <a:pt x="6350" y="3937000"/>
                </a:lnTo>
                <a:lnTo>
                  <a:pt x="3175" y="3825875"/>
                </a:lnTo>
                <a:lnTo>
                  <a:pt x="0" y="3717925"/>
                </a:lnTo>
                <a:lnTo>
                  <a:pt x="3175" y="3584575"/>
                </a:lnTo>
                <a:lnTo>
                  <a:pt x="9525" y="3451225"/>
                </a:lnTo>
                <a:lnTo>
                  <a:pt x="15875" y="3317875"/>
                </a:lnTo>
                <a:lnTo>
                  <a:pt x="28575" y="3184525"/>
                </a:lnTo>
                <a:lnTo>
                  <a:pt x="41275" y="3054350"/>
                </a:lnTo>
                <a:lnTo>
                  <a:pt x="57150" y="2924175"/>
                </a:lnTo>
                <a:lnTo>
                  <a:pt x="79375" y="2797175"/>
                </a:lnTo>
                <a:lnTo>
                  <a:pt x="101600" y="2667000"/>
                </a:lnTo>
                <a:lnTo>
                  <a:pt x="127000" y="2540000"/>
                </a:lnTo>
                <a:lnTo>
                  <a:pt x="158750" y="2416175"/>
                </a:lnTo>
                <a:lnTo>
                  <a:pt x="190500" y="2292350"/>
                </a:lnTo>
                <a:lnTo>
                  <a:pt x="225425" y="2168525"/>
                </a:lnTo>
                <a:lnTo>
                  <a:pt x="263525" y="2044700"/>
                </a:lnTo>
                <a:lnTo>
                  <a:pt x="301625" y="1924050"/>
                </a:lnTo>
                <a:lnTo>
                  <a:pt x="346075" y="1803400"/>
                </a:lnTo>
                <a:lnTo>
                  <a:pt x="390525" y="1685925"/>
                </a:lnTo>
                <a:lnTo>
                  <a:pt x="441325" y="1568450"/>
                </a:lnTo>
                <a:lnTo>
                  <a:pt x="492125" y="1454150"/>
                </a:lnTo>
                <a:lnTo>
                  <a:pt x="546100" y="1339850"/>
                </a:lnTo>
                <a:lnTo>
                  <a:pt x="600075" y="1225550"/>
                </a:lnTo>
                <a:lnTo>
                  <a:pt x="660400" y="1114425"/>
                </a:lnTo>
                <a:lnTo>
                  <a:pt x="720725" y="1006475"/>
                </a:lnTo>
                <a:lnTo>
                  <a:pt x="784225" y="895350"/>
                </a:lnTo>
                <a:lnTo>
                  <a:pt x="850900" y="790575"/>
                </a:lnTo>
                <a:lnTo>
                  <a:pt x="917575" y="685800"/>
                </a:lnTo>
                <a:lnTo>
                  <a:pt x="990600" y="581025"/>
                </a:lnTo>
                <a:lnTo>
                  <a:pt x="1063625" y="479425"/>
                </a:lnTo>
                <a:lnTo>
                  <a:pt x="1136650" y="381000"/>
                </a:lnTo>
                <a:lnTo>
                  <a:pt x="1216025" y="282575"/>
                </a:lnTo>
                <a:lnTo>
                  <a:pt x="1295400" y="187325"/>
                </a:lnTo>
                <a:lnTo>
                  <a:pt x="1377950" y="92075"/>
                </a:lnTo>
                <a:close/>
              </a:path>
            </a:pathLst>
          </a:custGeom>
          <a:solidFill>
            <a:srgbClr val="A6A2A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/>
          </a:p>
        </p:txBody>
      </p:sp>
      <p:sp>
        <p:nvSpPr>
          <p:cNvPr id="115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877175" y="1628775"/>
            <a:ext cx="3749675" cy="1128514"/>
          </a:xfrm>
        </p:spPr>
        <p:txBody>
          <a:bodyPr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000">
                <a:solidFill>
                  <a:schemeClr val="bg1"/>
                </a:solidFill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12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877175" y="3139282"/>
            <a:ext cx="3749675" cy="1128514"/>
          </a:xfrm>
        </p:spPr>
        <p:txBody>
          <a:bodyPr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000">
                <a:solidFill>
                  <a:schemeClr val="bg1"/>
                </a:solidFill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14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877175" y="4649788"/>
            <a:ext cx="3749675" cy="1128514"/>
          </a:xfrm>
        </p:spPr>
        <p:txBody>
          <a:bodyPr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000">
                <a:solidFill>
                  <a:schemeClr val="bg1"/>
                </a:solidFill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9" name="Abgerundetes Rechteck 42"/>
          <p:cNvSpPr/>
          <p:nvPr userDrawn="1"/>
        </p:nvSpPr>
        <p:spPr>
          <a:xfrm>
            <a:off x="12649206" y="6103753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72000" rtlCol="0" anchor="ctr"/>
          <a:lstStyle/>
          <a:p>
            <a:r>
              <a:rPr lang="en-US" sz="1100" b="1" dirty="0">
                <a:solidFill>
                  <a:srgbClr val="2D1E1C"/>
                </a:solidFill>
                <a:latin typeface="+mn-lt"/>
              </a:rPr>
              <a:t>Images</a:t>
            </a:r>
            <a:r>
              <a:rPr lang="en-US" sz="1100" dirty="0">
                <a:solidFill>
                  <a:srgbClr val="2D1E1C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must be exchanged </a:t>
            </a:r>
            <a:br>
              <a:rPr lang="en-US" sz="1100" dirty="0">
                <a:solidFill>
                  <a:schemeClr val="bg1"/>
                </a:solidFill>
                <a:latin typeface="+mn-lt"/>
              </a:rPr>
            </a:br>
            <a:r>
              <a:rPr lang="en-US" sz="1100" dirty="0">
                <a:solidFill>
                  <a:schemeClr val="bg1"/>
                </a:solidFill>
                <a:latin typeface="+mn-lt"/>
              </a:rPr>
              <a:t>on the slide master</a:t>
            </a:r>
          </a:p>
        </p:txBody>
      </p:sp>
      <p:grpSp>
        <p:nvGrpSpPr>
          <p:cNvPr id="3" name="Gruppieren 2"/>
          <p:cNvGrpSpPr/>
          <p:nvPr userDrawn="1"/>
        </p:nvGrpSpPr>
        <p:grpSpPr bwMode="gray">
          <a:xfrm>
            <a:off x="0" y="796"/>
            <a:ext cx="12198350" cy="1624807"/>
            <a:chOff x="0" y="796"/>
            <a:chExt cx="12198350" cy="1624807"/>
          </a:xfrm>
        </p:grpSpPr>
        <p:sp>
          <p:nvSpPr>
            <p:cNvPr id="116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2" name="Freeform 11"/>
            <p:cNvSpPr>
              <a:spLocks/>
            </p:cNvSpPr>
            <p:nvPr userDrawn="1"/>
          </p:nvSpPr>
          <p:spPr bwMode="gray">
            <a:xfrm>
              <a:off x="0" y="1151075"/>
              <a:ext cx="12198350" cy="474528"/>
            </a:xfrm>
            <a:custGeom>
              <a:avLst/>
              <a:gdLst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4" fmla="*/ 93792 w 12207175"/>
                <a:gd name="connsiteY4" fmla="*/ 93820 h 1624807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2352 w 12207175"/>
                <a:gd name="connsiteY0" fmla="*/ 4126 h 1626553"/>
                <a:gd name="connsiteX1" fmla="*/ 31685 w 12207175"/>
                <a:gd name="connsiteY1" fmla="*/ 0 h 1626553"/>
                <a:gd name="connsiteX2" fmla="*/ 12207175 w 12207175"/>
                <a:gd name="connsiteY2" fmla="*/ 1746 h 1626553"/>
                <a:gd name="connsiteX3" fmla="*/ 12207175 w 12207175"/>
                <a:gd name="connsiteY3" fmla="*/ 1152025 h 1626553"/>
                <a:gd name="connsiteX4" fmla="*/ 0 w 12207175"/>
                <a:gd name="connsiteY4" fmla="*/ 1626553 h 1626553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12207175 w 12207175"/>
                <a:gd name="connsiteY0" fmla="*/ 0 h 1624807"/>
                <a:gd name="connsiteX1" fmla="*/ 12207175 w 12207175"/>
                <a:gd name="connsiteY1" fmla="*/ 1150279 h 1624807"/>
                <a:gd name="connsiteX2" fmla="*/ 0 w 12207175"/>
                <a:gd name="connsiteY2" fmla="*/ 1624807 h 1624807"/>
                <a:gd name="connsiteX0" fmla="*/ 12207175 w 12207175"/>
                <a:gd name="connsiteY0" fmla="*/ 0 h 474528"/>
                <a:gd name="connsiteX1" fmla="*/ 0 w 12207175"/>
                <a:gd name="connsiteY1" fmla="*/ 474528 h 47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07175" h="474528">
                  <a:moveTo>
                    <a:pt x="12207175" y="0"/>
                  </a:moveTo>
                  <a:cubicBezTo>
                    <a:pt x="9794392" y="10920"/>
                    <a:pt x="4154653" y="95989"/>
                    <a:pt x="0" y="474528"/>
                  </a:cubicBezTo>
                </a:path>
              </a:pathLst>
            </a:custGeom>
            <a:noFill/>
            <a:ln w="9525">
              <a:solidFill>
                <a:srgbClr val="F9B59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20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21" name="Freihandform 20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22" name="Freihandform 21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23" name="Freihandform 22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29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30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31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32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3" name="Picture 20"/>
              <p:cNvPicPr>
                <a:picLocks noChangeAspect="1" noChangeArrowheads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8852515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2179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Freeform 5"/>
          <p:cNvSpPr>
            <a:spLocks/>
          </p:cNvSpPr>
          <p:nvPr userDrawn="1"/>
        </p:nvSpPr>
        <p:spPr bwMode="auto">
          <a:xfrm flipH="1">
            <a:off x="3175" y="1"/>
            <a:ext cx="6029325" cy="6308725"/>
          </a:xfrm>
          <a:custGeom>
            <a:avLst/>
            <a:gdLst/>
            <a:ahLst/>
            <a:cxnLst/>
            <a:rect l="l" t="t" r="r" b="b"/>
            <a:pathLst>
              <a:path w="6029325" h="6308725">
                <a:moveTo>
                  <a:pt x="6029325" y="990599"/>
                </a:moveTo>
                <a:lnTo>
                  <a:pt x="729797" y="990599"/>
                </a:lnTo>
                <a:lnTo>
                  <a:pt x="720725" y="1006475"/>
                </a:lnTo>
                <a:lnTo>
                  <a:pt x="660400" y="1114425"/>
                </a:lnTo>
                <a:lnTo>
                  <a:pt x="600075" y="1225550"/>
                </a:lnTo>
                <a:lnTo>
                  <a:pt x="546100" y="1339850"/>
                </a:lnTo>
                <a:lnTo>
                  <a:pt x="492125" y="1454150"/>
                </a:lnTo>
                <a:lnTo>
                  <a:pt x="441325" y="1568450"/>
                </a:lnTo>
                <a:lnTo>
                  <a:pt x="390525" y="1685925"/>
                </a:lnTo>
                <a:lnTo>
                  <a:pt x="346075" y="1803400"/>
                </a:lnTo>
                <a:lnTo>
                  <a:pt x="301625" y="1924050"/>
                </a:lnTo>
                <a:lnTo>
                  <a:pt x="263525" y="2044700"/>
                </a:lnTo>
                <a:lnTo>
                  <a:pt x="225425" y="2168525"/>
                </a:lnTo>
                <a:lnTo>
                  <a:pt x="190500" y="2292350"/>
                </a:lnTo>
                <a:lnTo>
                  <a:pt x="158750" y="2416175"/>
                </a:lnTo>
                <a:lnTo>
                  <a:pt x="127000" y="2540000"/>
                </a:lnTo>
                <a:lnTo>
                  <a:pt x="101600" y="2667000"/>
                </a:lnTo>
                <a:lnTo>
                  <a:pt x="79375" y="2797175"/>
                </a:lnTo>
                <a:lnTo>
                  <a:pt x="57150" y="2924175"/>
                </a:lnTo>
                <a:lnTo>
                  <a:pt x="41275" y="3054350"/>
                </a:lnTo>
                <a:lnTo>
                  <a:pt x="28575" y="3184525"/>
                </a:lnTo>
                <a:lnTo>
                  <a:pt x="15875" y="3317875"/>
                </a:lnTo>
                <a:lnTo>
                  <a:pt x="9525" y="3451225"/>
                </a:lnTo>
                <a:lnTo>
                  <a:pt x="3175" y="3584575"/>
                </a:lnTo>
                <a:lnTo>
                  <a:pt x="0" y="3717925"/>
                </a:lnTo>
                <a:lnTo>
                  <a:pt x="3175" y="3825875"/>
                </a:lnTo>
                <a:lnTo>
                  <a:pt x="6350" y="3937000"/>
                </a:lnTo>
                <a:lnTo>
                  <a:pt x="12700" y="4044950"/>
                </a:lnTo>
                <a:lnTo>
                  <a:pt x="19050" y="4152900"/>
                </a:lnTo>
                <a:lnTo>
                  <a:pt x="28575" y="4257675"/>
                </a:lnTo>
                <a:lnTo>
                  <a:pt x="38100" y="4365625"/>
                </a:lnTo>
                <a:lnTo>
                  <a:pt x="53975" y="4470400"/>
                </a:lnTo>
                <a:lnTo>
                  <a:pt x="69850" y="4575175"/>
                </a:lnTo>
                <a:lnTo>
                  <a:pt x="85725" y="4679950"/>
                </a:lnTo>
                <a:lnTo>
                  <a:pt x="104775" y="4784725"/>
                </a:lnTo>
                <a:lnTo>
                  <a:pt x="127000" y="4889500"/>
                </a:lnTo>
                <a:lnTo>
                  <a:pt x="149225" y="4991100"/>
                </a:lnTo>
                <a:lnTo>
                  <a:pt x="174625" y="5092700"/>
                </a:lnTo>
                <a:lnTo>
                  <a:pt x="203200" y="5194300"/>
                </a:lnTo>
                <a:lnTo>
                  <a:pt x="231775" y="5292725"/>
                </a:lnTo>
                <a:lnTo>
                  <a:pt x="263525" y="5391150"/>
                </a:lnTo>
                <a:lnTo>
                  <a:pt x="295275" y="5492750"/>
                </a:lnTo>
                <a:lnTo>
                  <a:pt x="330200" y="5588000"/>
                </a:lnTo>
                <a:lnTo>
                  <a:pt x="365125" y="5686425"/>
                </a:lnTo>
                <a:lnTo>
                  <a:pt x="403225" y="5781675"/>
                </a:lnTo>
                <a:lnTo>
                  <a:pt x="444500" y="5876925"/>
                </a:lnTo>
                <a:lnTo>
                  <a:pt x="485775" y="5972175"/>
                </a:lnTo>
                <a:lnTo>
                  <a:pt x="530225" y="6064250"/>
                </a:lnTo>
                <a:lnTo>
                  <a:pt x="574675" y="6156325"/>
                </a:lnTo>
                <a:lnTo>
                  <a:pt x="622300" y="6248400"/>
                </a:lnTo>
                <a:lnTo>
                  <a:pt x="654617" y="6308725"/>
                </a:lnTo>
                <a:lnTo>
                  <a:pt x="6029325" y="6308725"/>
                </a:lnTo>
                <a:close/>
                <a:moveTo>
                  <a:pt x="6029325" y="0"/>
                </a:moveTo>
                <a:lnTo>
                  <a:pt x="1460500" y="0"/>
                </a:lnTo>
                <a:lnTo>
                  <a:pt x="1457655" y="3174"/>
                </a:lnTo>
                <a:lnTo>
                  <a:pt x="6029325" y="317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/>
          </a:p>
        </p:txBody>
      </p:sp>
      <p:sp>
        <p:nvSpPr>
          <p:cNvPr id="115" name="Textplatzhalter 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82600" y="6597650"/>
            <a:ext cx="550862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286374" y="3067050"/>
            <a:ext cx="1581151" cy="1581151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82600" y="1628775"/>
            <a:ext cx="4613275" cy="2308324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Subhead, Calibri, 2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2" name="Textplatzhalter 6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7015163" y="1628775"/>
            <a:ext cx="4613275" cy="2308324"/>
          </a:xfrm>
        </p:spPr>
        <p:txBody>
          <a:bodyPr>
            <a:spAutoFit/>
          </a:bodyPr>
          <a:lstStyle/>
          <a:p>
            <a:pPr lvl="0"/>
            <a:r>
              <a:rPr lang="en-US" noProof="0" dirty="0"/>
              <a:t>Subhead, Calibri, 2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3" name="Gruppieren 2"/>
          <p:cNvGrpSpPr/>
          <p:nvPr userDrawn="1"/>
        </p:nvGrpSpPr>
        <p:grpSpPr bwMode="gray">
          <a:xfrm>
            <a:off x="701" y="796"/>
            <a:ext cx="12197649" cy="1624807"/>
            <a:chOff x="701" y="796"/>
            <a:chExt cx="12197649" cy="1624807"/>
          </a:xfrm>
        </p:grpSpPr>
        <p:sp>
          <p:nvSpPr>
            <p:cNvPr id="117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150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151" name="Freihandform 150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152" name="Freihandform 151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153" name="Freihandform 152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  <p:sp>
          <p:nvSpPr>
            <p:cNvPr id="119" name="Freeform 11"/>
            <p:cNvSpPr>
              <a:spLocks/>
            </p:cNvSpPr>
            <p:nvPr userDrawn="1"/>
          </p:nvSpPr>
          <p:spPr bwMode="gray">
            <a:xfrm>
              <a:off x="3175" y="1151075"/>
              <a:ext cx="12195175" cy="474528"/>
            </a:xfrm>
            <a:custGeom>
              <a:avLst/>
              <a:gdLst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4" fmla="*/ 93792 w 12207175"/>
                <a:gd name="connsiteY4" fmla="*/ 93820 h 1624807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2352 w 12207175"/>
                <a:gd name="connsiteY0" fmla="*/ 4126 h 1626553"/>
                <a:gd name="connsiteX1" fmla="*/ 31685 w 12207175"/>
                <a:gd name="connsiteY1" fmla="*/ 0 h 1626553"/>
                <a:gd name="connsiteX2" fmla="*/ 12207175 w 12207175"/>
                <a:gd name="connsiteY2" fmla="*/ 1746 h 1626553"/>
                <a:gd name="connsiteX3" fmla="*/ 12207175 w 12207175"/>
                <a:gd name="connsiteY3" fmla="*/ 1152025 h 1626553"/>
                <a:gd name="connsiteX4" fmla="*/ 0 w 12207175"/>
                <a:gd name="connsiteY4" fmla="*/ 1626553 h 1626553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12207175 w 12207175"/>
                <a:gd name="connsiteY0" fmla="*/ 0 h 1624807"/>
                <a:gd name="connsiteX1" fmla="*/ 12207175 w 12207175"/>
                <a:gd name="connsiteY1" fmla="*/ 1150279 h 1624807"/>
                <a:gd name="connsiteX2" fmla="*/ 0 w 12207175"/>
                <a:gd name="connsiteY2" fmla="*/ 1624807 h 1624807"/>
                <a:gd name="connsiteX0" fmla="*/ 12207175 w 12207175"/>
                <a:gd name="connsiteY0" fmla="*/ 0 h 474528"/>
                <a:gd name="connsiteX1" fmla="*/ 0 w 12207175"/>
                <a:gd name="connsiteY1" fmla="*/ 474528 h 47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07175" h="474528">
                  <a:moveTo>
                    <a:pt x="12207175" y="0"/>
                  </a:moveTo>
                  <a:cubicBezTo>
                    <a:pt x="9794392" y="10920"/>
                    <a:pt x="4154653" y="95989"/>
                    <a:pt x="0" y="474528"/>
                  </a:cubicBezTo>
                </a:path>
              </a:pathLst>
            </a:custGeom>
            <a:noFill/>
            <a:ln w="9525">
              <a:solidFill>
                <a:srgbClr val="F9B59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26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7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8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9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0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51039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6601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1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9" name="Grafik 18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7263" y="1149164"/>
            <a:ext cx="5225574" cy="5710465"/>
          </a:xfrm>
          <a:prstGeom prst="rect">
            <a:avLst/>
          </a:prstGeom>
        </p:spPr>
      </p:pic>
      <p:sp>
        <p:nvSpPr>
          <p:cNvPr id="197" name="Text Placeholder 7"/>
          <p:cNvSpPr txBox="1">
            <a:spLocks/>
          </p:cNvSpPr>
          <p:nvPr userDrawn="1"/>
        </p:nvSpPr>
        <p:spPr bwMode="auto">
          <a:xfrm>
            <a:off x="6134100" y="6001584"/>
            <a:ext cx="55086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2000" b="0">
                <a:solidFill>
                  <a:schemeClr val="bg1"/>
                </a:solidFill>
                <a:latin typeface="Bree Rg" pitchFamily="50" charset="0"/>
                <a:ea typeface="+mn-ea"/>
                <a:cs typeface="Arial" pitchFamily="34" charset="0"/>
              </a:defRPr>
            </a:lvl1pPr>
            <a:lvl2pPr marL="457200" indent="0" algn="l" rtl="0" eaLnBrk="1" fontAlgn="base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EC6602"/>
              </a:buClr>
              <a:buNone/>
              <a:tabLst/>
              <a:defRPr sz="20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itchFamily="34" charset="0"/>
              </a:defRPr>
            </a:lvl2pPr>
            <a:lvl3pPr marL="91440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EC6602"/>
              </a:buClr>
              <a:buNone/>
              <a:tabLst/>
              <a:defRPr sz="18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itchFamily="34" charset="0"/>
              </a:defRPr>
            </a:lvl3pPr>
            <a:lvl4pPr marL="137160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EC6602"/>
              </a:buClr>
              <a:buNone/>
              <a:tabLst/>
              <a:defRPr sz="16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itchFamily="34" charset="0"/>
              </a:defRPr>
            </a:lvl4pPr>
            <a:lvl5pPr marL="1828800" indent="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EC6602"/>
              </a:buClr>
              <a:buNone/>
              <a:tabLst/>
              <a:defRPr sz="1600" b="1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itchFamily="34" charset="0"/>
              </a:defRPr>
            </a:lvl5pPr>
            <a:lvl6pPr marL="2286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 sz="1600" b="1">
                <a:solidFill>
                  <a:schemeClr val="tx1"/>
                </a:solidFill>
                <a:latin typeface="+mn-lt"/>
                <a:ea typeface="+mn-ea"/>
              </a:defRPr>
            </a:lvl6pPr>
            <a:lvl7pPr marL="27432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 sz="1600" b="1">
                <a:solidFill>
                  <a:schemeClr val="tx1"/>
                </a:solidFill>
                <a:latin typeface="+mn-lt"/>
                <a:ea typeface="+mn-ea"/>
              </a:defRPr>
            </a:lvl7pPr>
            <a:lvl8pPr marL="32004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 sz="1600" b="1">
                <a:solidFill>
                  <a:schemeClr val="tx1"/>
                </a:solidFill>
                <a:latin typeface="+mn-lt"/>
                <a:ea typeface="+mn-ea"/>
              </a:defRPr>
            </a:lvl8pPr>
            <a:lvl9pPr marL="36576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 sz="1600" b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l" defTabSz="914400"/>
            <a:r>
              <a:rPr lang="en-US" b="1" kern="0" dirty="0">
                <a:latin typeface="Calibri" panose="020F0502020204030204" pitchFamily="34" charset="0"/>
              </a:rPr>
              <a:t>Engineering success. Pioneering healthcare.</a:t>
            </a:r>
          </a:p>
        </p:txBody>
      </p:sp>
      <p:sp>
        <p:nvSpPr>
          <p:cNvPr id="198" name="cdtTextBox 11 Id18"/>
          <p:cNvSpPr txBox="1"/>
          <p:nvPr userDrawn="1">
            <p:custDataLst>
              <p:tags r:id="rId3"/>
            </p:custDataLst>
          </p:nvPr>
        </p:nvSpPr>
        <p:spPr>
          <a:xfrm>
            <a:off x="8034128" y="6597650"/>
            <a:ext cx="3613634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indent="0" algn="r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noProof="0" dirty="0">
                <a:solidFill>
                  <a:schemeClr val="bg1"/>
                </a:solidFill>
                <a:latin typeface="Calibri" panose="020F0502020204030204" pitchFamily="34" charset="0"/>
              </a:rPr>
              <a:t>Unrestricted © Siemens Healthcare GmbH, 2016</a:t>
            </a:r>
          </a:p>
        </p:txBody>
      </p:sp>
      <p:sp>
        <p:nvSpPr>
          <p:cNvPr id="348" name="Title 5"/>
          <p:cNvSpPr txBox="1">
            <a:spLocks/>
          </p:cNvSpPr>
          <p:nvPr userDrawn="1"/>
        </p:nvSpPr>
        <p:spPr bwMode="gray">
          <a:xfrm>
            <a:off x="6134100" y="2348880"/>
            <a:ext cx="5508625" cy="1408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 smtClean="0">
                <a:solidFill>
                  <a:schemeClr val="bg1"/>
                </a:solidFill>
                <a:latin typeface="Bree Rg" pitchFamily="50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defTabSz="914400"/>
            <a:r>
              <a:rPr lang="en-US" sz="4400" kern="0" dirty="0">
                <a:latin typeface="Calibri" panose="020F0502020204030204" pitchFamily="34" charset="0"/>
              </a:rPr>
              <a:t>  Now’s our time </a:t>
            </a:r>
            <a:br>
              <a:rPr lang="en-US" sz="6000" kern="0" dirty="0">
                <a:latin typeface="Calibri" panose="020F0502020204030204" pitchFamily="34" charset="0"/>
              </a:rPr>
            </a:br>
            <a:r>
              <a:rPr lang="en-US" sz="8000" kern="0" dirty="0">
                <a:latin typeface="Calibri" panose="020F0502020204030204" pitchFamily="34" charset="0"/>
              </a:rPr>
              <a:t>      to inspire</a:t>
            </a:r>
            <a:endParaRPr lang="en-US" sz="6000" kern="0" dirty="0">
              <a:latin typeface="Calibri" panose="020F0502020204030204" pitchFamily="34" charset="0"/>
            </a:endParaRPr>
          </a:p>
        </p:txBody>
      </p:sp>
      <p:sp>
        <p:nvSpPr>
          <p:cNvPr id="349" name="Subtitle 3"/>
          <p:cNvSpPr txBox="1">
            <a:spLocks/>
          </p:cNvSpPr>
          <p:nvPr userDrawn="1"/>
        </p:nvSpPr>
        <p:spPr bwMode="gray">
          <a:xfrm>
            <a:off x="6134100" y="3767998"/>
            <a:ext cx="5508625" cy="16874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lnSpc>
                <a:spcPct val="80000"/>
              </a:lnSpc>
              <a:spcBef>
                <a:spcPts val="12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4800" b="1" smtClean="0">
                <a:solidFill>
                  <a:schemeClr val="bg1"/>
                </a:solidFill>
                <a:latin typeface="Bree Rg" pitchFamily="50" charset="0"/>
                <a:ea typeface="+mn-ea"/>
                <a:cs typeface="Arial" pitchFamily="34" charset="0"/>
              </a:defRPr>
            </a:lvl1pPr>
            <a:lvl2pPr marL="270000" indent="-270000" algn="l" rtl="0" eaLnBrk="1" fontAlgn="base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EC6602"/>
              </a:buClr>
              <a:buChar char="•"/>
              <a:tabLst/>
              <a:defRPr sz="20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itchFamily="34" charset="0"/>
              </a:defRPr>
            </a:lvl2pPr>
            <a:lvl3pPr marL="540000" indent="-2700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EC6602"/>
              </a:buClr>
              <a:buChar char="•"/>
              <a:tabLst/>
              <a:defRPr sz="20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itchFamily="34" charset="0"/>
              </a:defRPr>
            </a:lvl3pPr>
            <a:lvl4pPr marL="810000" indent="-2700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EC6602"/>
              </a:buClr>
              <a:buChar char="•"/>
              <a:tabLst/>
              <a:defRPr sz="20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itchFamily="34" charset="0"/>
              </a:defRPr>
            </a:lvl4pPr>
            <a:lvl5pPr marL="1080000" indent="-2700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EC6602"/>
              </a:buClr>
              <a:buChar char="•"/>
              <a:tabLst/>
              <a:defRPr sz="20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ts val="1200"/>
              </a:spcBef>
              <a:spcAft>
                <a:spcPct val="0"/>
              </a:spcAft>
              <a:buClr>
                <a:srgbClr val="EC6602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8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  </a:t>
            </a:r>
            <a:r>
              <a:rPr kumimoji="0" lang="en-US" sz="80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the future </a:t>
            </a:r>
            <a:br>
              <a:rPr kumimoji="0" lang="en-US" sz="80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</a:br>
            <a:r>
              <a:rPr kumimoji="0" lang="en-US" sz="44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of healthcare together</a:t>
            </a:r>
          </a:p>
        </p:txBody>
      </p:sp>
      <p:grpSp>
        <p:nvGrpSpPr>
          <p:cNvPr id="369" name="Gruppieren 368"/>
          <p:cNvGrpSpPr/>
          <p:nvPr userDrawn="1"/>
        </p:nvGrpSpPr>
        <p:grpSpPr>
          <a:xfrm>
            <a:off x="-381000" y="-377826"/>
            <a:ext cx="12915900" cy="7610481"/>
            <a:chOff x="-381000" y="-377826"/>
            <a:chExt cx="12915900" cy="7610481"/>
          </a:xfrm>
        </p:grpSpPr>
        <p:cxnSp>
          <p:nvCxnSpPr>
            <p:cNvPr id="370" name="Gerade Verbindung 369"/>
            <p:cNvCxnSpPr/>
            <p:nvPr userDrawn="1"/>
          </p:nvCxnSpPr>
          <p:spPr>
            <a:xfrm flipH="1">
              <a:off x="-381000" y="163036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1" name="Gerade Verbindung 370"/>
            <p:cNvCxnSpPr/>
            <p:nvPr userDrawn="1"/>
          </p:nvCxnSpPr>
          <p:spPr>
            <a:xfrm flipH="1">
              <a:off x="-381000" y="630872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2" name="Gerade Verbindung 371"/>
            <p:cNvCxnSpPr/>
            <p:nvPr userDrawn="1"/>
          </p:nvCxnSpPr>
          <p:spPr>
            <a:xfrm flipH="1">
              <a:off x="12315825" y="163036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3" name="Gerade Verbindung 372"/>
            <p:cNvCxnSpPr/>
            <p:nvPr userDrawn="1"/>
          </p:nvCxnSpPr>
          <p:spPr>
            <a:xfrm flipH="1">
              <a:off x="12315825" y="630872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4" name="Gerade Verbindung 373"/>
            <p:cNvCxnSpPr/>
            <p:nvPr userDrawn="1"/>
          </p:nvCxnSpPr>
          <p:spPr>
            <a:xfrm rot="16200000" flipH="1">
              <a:off x="11533187" y="712311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Gerade Verbindung 374"/>
            <p:cNvCxnSpPr/>
            <p:nvPr userDrawn="1"/>
          </p:nvCxnSpPr>
          <p:spPr>
            <a:xfrm rot="16200000" flipH="1">
              <a:off x="9513887" y="712311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Gerade Verbindung 375"/>
            <p:cNvCxnSpPr/>
            <p:nvPr userDrawn="1"/>
          </p:nvCxnSpPr>
          <p:spPr>
            <a:xfrm rot="16200000" flipH="1">
              <a:off x="372160" y="712311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Gerade Verbindung 376"/>
            <p:cNvCxnSpPr/>
            <p:nvPr userDrawn="1"/>
          </p:nvCxnSpPr>
          <p:spPr>
            <a:xfrm rot="16200000" flipH="1">
              <a:off x="7764463" y="712311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8" name="Gerade Verbindung 377"/>
            <p:cNvCxnSpPr/>
            <p:nvPr userDrawn="1"/>
          </p:nvCxnSpPr>
          <p:spPr>
            <a:xfrm rot="16200000" flipH="1">
              <a:off x="7907339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9" name="Gerade Verbindung 378"/>
            <p:cNvCxnSpPr/>
            <p:nvPr userDrawn="1"/>
          </p:nvCxnSpPr>
          <p:spPr>
            <a:xfrm rot="16200000" flipH="1">
              <a:off x="5878514" y="712311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0" name="Gerade Verbindung 379"/>
            <p:cNvCxnSpPr/>
            <p:nvPr userDrawn="1"/>
          </p:nvCxnSpPr>
          <p:spPr>
            <a:xfrm rot="16200000" flipH="1">
              <a:off x="6021390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1" name="Gerade Verbindung 380"/>
            <p:cNvCxnSpPr/>
            <p:nvPr userDrawn="1"/>
          </p:nvCxnSpPr>
          <p:spPr>
            <a:xfrm rot="16200000" flipH="1">
              <a:off x="3997326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2" name="Gerade Verbindung 381"/>
            <p:cNvCxnSpPr/>
            <p:nvPr userDrawn="1"/>
          </p:nvCxnSpPr>
          <p:spPr>
            <a:xfrm rot="16200000" flipH="1">
              <a:off x="4140202" y="712311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3" name="Gerade Verbindung 382"/>
            <p:cNvCxnSpPr/>
            <p:nvPr userDrawn="1"/>
          </p:nvCxnSpPr>
          <p:spPr>
            <a:xfrm rot="16200000" flipH="1">
              <a:off x="11533188" y="-26828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4" name="Gerade Verbindung 383"/>
            <p:cNvCxnSpPr/>
            <p:nvPr userDrawn="1"/>
          </p:nvCxnSpPr>
          <p:spPr>
            <a:xfrm rot="16200000" flipH="1">
              <a:off x="9513888" y="-26828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5" name="Gerade Verbindung 384"/>
            <p:cNvCxnSpPr/>
            <p:nvPr userDrawn="1"/>
          </p:nvCxnSpPr>
          <p:spPr>
            <a:xfrm rot="16200000" flipH="1">
              <a:off x="372161" y="-2682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6" name="Gerade Verbindung 385"/>
            <p:cNvCxnSpPr/>
            <p:nvPr userDrawn="1"/>
          </p:nvCxnSpPr>
          <p:spPr>
            <a:xfrm rot="16200000" flipH="1">
              <a:off x="7764464" y="-26828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7" name="Gerade Verbindung 386"/>
            <p:cNvCxnSpPr/>
            <p:nvPr userDrawn="1"/>
          </p:nvCxnSpPr>
          <p:spPr>
            <a:xfrm rot="16200000" flipH="1">
              <a:off x="7907340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8" name="Gerade Verbindung 387"/>
            <p:cNvCxnSpPr/>
            <p:nvPr userDrawn="1"/>
          </p:nvCxnSpPr>
          <p:spPr>
            <a:xfrm rot="16200000" flipH="1">
              <a:off x="5878515" y="-26828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9" name="Gerade Verbindung 388"/>
            <p:cNvCxnSpPr/>
            <p:nvPr userDrawn="1"/>
          </p:nvCxnSpPr>
          <p:spPr>
            <a:xfrm rot="16200000" flipH="1">
              <a:off x="6021391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0" name="Gerade Verbindung 389"/>
            <p:cNvCxnSpPr/>
            <p:nvPr userDrawn="1"/>
          </p:nvCxnSpPr>
          <p:spPr>
            <a:xfrm rot="16200000" flipH="1">
              <a:off x="3997327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1" name="Gerade Verbindung 390"/>
            <p:cNvCxnSpPr/>
            <p:nvPr userDrawn="1"/>
          </p:nvCxnSpPr>
          <p:spPr>
            <a:xfrm rot="16200000" flipH="1">
              <a:off x="4140203" y="-26828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2" name="Gerade Verbindung 391"/>
            <p:cNvCxnSpPr/>
            <p:nvPr userDrawn="1"/>
          </p:nvCxnSpPr>
          <p:spPr>
            <a:xfrm flipH="1">
              <a:off x="-381000" y="389731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3" name="Gerade Verbindung 392"/>
            <p:cNvCxnSpPr/>
            <p:nvPr userDrawn="1"/>
          </p:nvCxnSpPr>
          <p:spPr>
            <a:xfrm flipH="1">
              <a:off x="-381000" y="40401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4" name="Gerade Verbindung 393"/>
            <p:cNvCxnSpPr/>
            <p:nvPr userDrawn="1"/>
          </p:nvCxnSpPr>
          <p:spPr>
            <a:xfrm flipH="1">
              <a:off x="12315825" y="389731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5" name="Gerade Verbindung 394"/>
            <p:cNvCxnSpPr/>
            <p:nvPr userDrawn="1"/>
          </p:nvCxnSpPr>
          <p:spPr>
            <a:xfrm flipH="1">
              <a:off x="12315825" y="40401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6" name="Gerade Verbindung 395"/>
            <p:cNvCxnSpPr/>
            <p:nvPr userDrawn="1"/>
          </p:nvCxnSpPr>
          <p:spPr>
            <a:xfrm flipH="1">
              <a:off x="12315825" y="342900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Gerade Verbindung 396"/>
            <p:cNvCxnSpPr/>
            <p:nvPr userDrawn="1"/>
          </p:nvCxnSpPr>
          <p:spPr>
            <a:xfrm flipH="1">
              <a:off x="-381000" y="342900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3" name="Abgerundetes Rechteck 182"/>
          <p:cNvSpPr/>
          <p:nvPr userDrawn="1"/>
        </p:nvSpPr>
        <p:spPr>
          <a:xfrm>
            <a:off x="12651640" y="6224588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 w="25400" cap="flat" cmpd="sng" algn="ctr">
            <a:noFill/>
            <a:prstDash val="solid"/>
          </a:ln>
          <a:effectLst/>
        </p:spPr>
        <p:txBody>
          <a:bodyPr lIns="72000" tIns="36000" rIns="72000" bIns="36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ustomize 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2D1E1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oter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2D1E1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b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2D1E1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the master view</a:t>
            </a:r>
          </a:p>
        </p:txBody>
      </p:sp>
      <p:grpSp>
        <p:nvGrpSpPr>
          <p:cNvPr id="3" name="Gruppieren 2"/>
          <p:cNvGrpSpPr/>
          <p:nvPr userDrawn="1"/>
        </p:nvGrpSpPr>
        <p:grpSpPr bwMode="gray">
          <a:xfrm>
            <a:off x="701" y="796"/>
            <a:ext cx="12197649" cy="1623969"/>
            <a:chOff x="701" y="796"/>
            <a:chExt cx="12197649" cy="1623969"/>
          </a:xfrm>
        </p:grpSpPr>
        <p:sp>
          <p:nvSpPr>
            <p:cNvPr id="184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185" name="Gruppieren 184"/>
            <p:cNvGrpSpPr/>
            <p:nvPr userDrawn="1"/>
          </p:nvGrpSpPr>
          <p:grpSpPr bwMode="gray">
            <a:xfrm>
              <a:off x="481775" y="337455"/>
              <a:ext cx="2815389" cy="662027"/>
              <a:chOff x="481775" y="337455"/>
              <a:chExt cx="2815389" cy="662027"/>
            </a:xfrm>
          </p:grpSpPr>
          <p:sp>
            <p:nvSpPr>
              <p:cNvPr id="186" name="Freihandform 185"/>
              <p:cNvSpPr>
                <a:spLocks noChangeArrowheads="1"/>
              </p:cNvSpPr>
              <p:nvPr/>
            </p:nvSpPr>
            <p:spPr bwMode="gray">
              <a:xfrm>
                <a:off x="2813076" y="444433"/>
                <a:ext cx="484088" cy="476290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187" name="Freihandform 186"/>
              <p:cNvSpPr>
                <a:spLocks noChangeArrowheads="1"/>
              </p:cNvSpPr>
              <p:nvPr/>
            </p:nvSpPr>
            <p:spPr bwMode="gray">
              <a:xfrm>
                <a:off x="1175199" y="337455"/>
                <a:ext cx="1597949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188" name="Freihandform 187"/>
              <p:cNvSpPr>
                <a:spLocks noChangeArrowheads="1"/>
              </p:cNvSpPr>
              <p:nvPr/>
            </p:nvSpPr>
            <p:spPr bwMode="gray">
              <a:xfrm>
                <a:off x="481775" y="682626"/>
                <a:ext cx="2292197" cy="316856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043697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9550" cy="14716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30388" y="3887788"/>
            <a:ext cx="853757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54B60-AE64-4457-8407-F0564DC7EF0E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ADDBC3-A1D4-4B18-8425-99112FF947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54B60-AE64-4457-8407-F0564DC7EF0E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ADDBC3-A1D4-4B18-8425-99112FF947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613" y="4408488"/>
            <a:ext cx="10367962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613" y="2906713"/>
            <a:ext cx="10367962" cy="1501775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54B60-AE64-4457-8407-F0564DC7EF0E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ADDBC3-A1D4-4B18-8425-99112FF947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413375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5375" y="1600200"/>
            <a:ext cx="5413375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54B60-AE64-4457-8407-F0564DC7EF0E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ADDBC3-A1D4-4B18-8425-99112FF947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956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9563" cy="39528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6013" y="1535113"/>
            <a:ext cx="539273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6013" y="2174875"/>
            <a:ext cx="5392737" cy="39528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54B60-AE64-4457-8407-F0564DC7EF0E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ADDBC3-A1D4-4B18-8425-99112FF947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54B60-AE64-4457-8407-F0564DC7EF0E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ADDBC3-A1D4-4B18-8425-99112FF947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54B60-AE64-4457-8407-F0564DC7EF0E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ADDBC3-A1D4-4B18-8425-99112FF947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3200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8850" y="273050"/>
            <a:ext cx="6819900" cy="58547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0"/>
            <a:ext cx="4013200" cy="46926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54B60-AE64-4457-8407-F0564DC7EF0E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ADDBC3-A1D4-4B18-8425-99112FF947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775" y="4802188"/>
            <a:ext cx="7319963" cy="5667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775" y="612775"/>
            <a:ext cx="7319963" cy="41163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775" y="5368925"/>
            <a:ext cx="7319963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54B60-AE64-4457-8407-F0564DC7EF0E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ADDBC3-A1D4-4B18-8425-99112FF947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54B60-AE64-4457-8407-F0564DC7EF0E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ADDBC3-A1D4-4B18-8425-99112FF947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3963" y="274638"/>
            <a:ext cx="2744787" cy="585311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8"/>
            <a:ext cx="8081963" cy="585311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54B60-AE64-4457-8407-F0564DC7EF0E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ADDBC3-A1D4-4B18-8425-99112FF9479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Pictures, Title/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2600" y="1630363"/>
            <a:ext cx="11160125" cy="2308324"/>
          </a:xfrm>
        </p:spPr>
        <p:txBody>
          <a:bodyPr>
            <a:spAutoFit/>
          </a:bodyPr>
          <a:lstStyle/>
          <a:p>
            <a:pPr lvl="0"/>
            <a:r>
              <a:rPr lang="en-US" noProof="0" dirty="0"/>
              <a:t>Subhead, Calibri, 2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2600" y="6597650"/>
            <a:ext cx="5508625" cy="153888"/>
          </a:xfrm>
        </p:spPr>
        <p:txBody>
          <a:bodyPr wrap="square" anchor="b">
            <a:spAutoFit/>
          </a:bodyPr>
          <a:lstStyle>
            <a:lvl1pPr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10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11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12" name="Gruppieren 11"/>
            <p:cNvGrpSpPr/>
            <p:nvPr userDrawn="1">
              <p:custDataLst>
                <p:tags r:id="rId2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14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15" name="Picture 20"/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0348484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Pictures, Title/Content/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2600" y="1630363"/>
            <a:ext cx="5508625" cy="2308324"/>
          </a:xfrm>
        </p:spPr>
        <p:txBody>
          <a:bodyPr wrap="square">
            <a:spAutoFit/>
          </a:bodyPr>
          <a:lstStyle/>
          <a:p>
            <a:pPr lvl="0"/>
            <a:r>
              <a:rPr lang="en-US" noProof="0" dirty="0"/>
              <a:t>Subhead, Calibri, 2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6134100" y="1630363"/>
            <a:ext cx="5508625" cy="467836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82600" y="6597650"/>
            <a:ext cx="5508625" cy="153888"/>
          </a:xfrm>
        </p:spPr>
        <p:txBody>
          <a:bodyPr wrap="square" anchor="b">
            <a:spAutoFit/>
          </a:bodyPr>
          <a:lstStyle>
            <a:lvl1pPr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11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12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14" name="Gruppieren 11"/>
            <p:cNvGrpSpPr/>
            <p:nvPr userDrawn="1">
              <p:custDataLst>
                <p:tags r:id="rId2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15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16" name="Picture 20"/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783764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Pictures, 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2600" y="6597650"/>
            <a:ext cx="5508625" cy="153888"/>
          </a:xfrm>
        </p:spPr>
        <p:txBody>
          <a:bodyPr wrap="square" anchor="b">
            <a:spAutoFit/>
          </a:bodyPr>
          <a:lstStyle>
            <a:lvl1pPr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9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10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11" name="Gruppieren 11"/>
            <p:cNvGrpSpPr/>
            <p:nvPr userDrawn="1">
              <p:custDataLst>
                <p:tags r:id="rId2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12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13" name="Picture 20"/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8085674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Pictures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5376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eform 5"/>
          <p:cNvSpPr>
            <a:spLocks/>
          </p:cNvSpPr>
          <p:nvPr userDrawn="1"/>
        </p:nvSpPr>
        <p:spPr bwMode="auto">
          <a:xfrm>
            <a:off x="6134101" y="1"/>
            <a:ext cx="6067904" cy="6308725"/>
          </a:xfrm>
          <a:custGeom>
            <a:avLst/>
            <a:gdLst/>
            <a:ahLst/>
            <a:cxnLst/>
            <a:rect l="l" t="t" r="r" b="b"/>
            <a:pathLst>
              <a:path w="6067904" h="6308725">
                <a:moveTo>
                  <a:pt x="1469845" y="0"/>
                </a:moveTo>
                <a:lnTo>
                  <a:pt x="6067904" y="0"/>
                </a:lnTo>
                <a:lnTo>
                  <a:pt x="6067904" y="6308725"/>
                </a:lnTo>
                <a:lnTo>
                  <a:pt x="658806" y="6308725"/>
                </a:lnTo>
                <a:lnTo>
                  <a:pt x="626282" y="6248400"/>
                </a:lnTo>
                <a:lnTo>
                  <a:pt x="578352" y="6156325"/>
                </a:lnTo>
                <a:lnTo>
                  <a:pt x="533618" y="6064250"/>
                </a:lnTo>
                <a:lnTo>
                  <a:pt x="488883" y="5972175"/>
                </a:lnTo>
                <a:lnTo>
                  <a:pt x="447344" y="5876925"/>
                </a:lnTo>
                <a:lnTo>
                  <a:pt x="405805" y="5781675"/>
                </a:lnTo>
                <a:lnTo>
                  <a:pt x="367462" y="5686425"/>
                </a:lnTo>
                <a:lnTo>
                  <a:pt x="332313" y="5588000"/>
                </a:lnTo>
                <a:lnTo>
                  <a:pt x="297165" y="5492750"/>
                </a:lnTo>
                <a:lnTo>
                  <a:pt x="265211" y="5391150"/>
                </a:lnTo>
                <a:lnTo>
                  <a:pt x="233258" y="5292725"/>
                </a:lnTo>
                <a:lnTo>
                  <a:pt x="204500" y="5194300"/>
                </a:lnTo>
                <a:lnTo>
                  <a:pt x="175743" y="5092700"/>
                </a:lnTo>
                <a:lnTo>
                  <a:pt x="150180" y="4991100"/>
                </a:lnTo>
                <a:lnTo>
                  <a:pt x="127813" y="4889500"/>
                </a:lnTo>
                <a:lnTo>
                  <a:pt x="105446" y="4784725"/>
                </a:lnTo>
                <a:lnTo>
                  <a:pt x="86274" y="4679950"/>
                </a:lnTo>
                <a:lnTo>
                  <a:pt x="70297" y="4575175"/>
                </a:lnTo>
                <a:lnTo>
                  <a:pt x="54321" y="4470400"/>
                </a:lnTo>
                <a:lnTo>
                  <a:pt x="38344" y="4365625"/>
                </a:lnTo>
                <a:lnTo>
                  <a:pt x="28758" y="4257675"/>
                </a:lnTo>
                <a:lnTo>
                  <a:pt x="19172" y="4152900"/>
                </a:lnTo>
                <a:lnTo>
                  <a:pt x="12782" y="4044950"/>
                </a:lnTo>
                <a:lnTo>
                  <a:pt x="6391" y="3937000"/>
                </a:lnTo>
                <a:lnTo>
                  <a:pt x="3196" y="3825875"/>
                </a:lnTo>
                <a:lnTo>
                  <a:pt x="0" y="3717925"/>
                </a:lnTo>
                <a:lnTo>
                  <a:pt x="3196" y="3584575"/>
                </a:lnTo>
                <a:lnTo>
                  <a:pt x="9586" y="3451225"/>
                </a:lnTo>
                <a:lnTo>
                  <a:pt x="15977" y="3317875"/>
                </a:lnTo>
                <a:lnTo>
                  <a:pt x="28758" y="3184525"/>
                </a:lnTo>
                <a:lnTo>
                  <a:pt x="41539" y="3054350"/>
                </a:lnTo>
                <a:lnTo>
                  <a:pt x="57516" y="2924175"/>
                </a:lnTo>
                <a:lnTo>
                  <a:pt x="79883" y="2797175"/>
                </a:lnTo>
                <a:lnTo>
                  <a:pt x="102250" y="2667000"/>
                </a:lnTo>
                <a:lnTo>
                  <a:pt x="127813" y="2540000"/>
                </a:lnTo>
                <a:lnTo>
                  <a:pt x="159766" y="2416175"/>
                </a:lnTo>
                <a:lnTo>
                  <a:pt x="191719" y="2292350"/>
                </a:lnTo>
                <a:lnTo>
                  <a:pt x="226868" y="2168525"/>
                </a:lnTo>
                <a:lnTo>
                  <a:pt x="265211" y="2044700"/>
                </a:lnTo>
                <a:lnTo>
                  <a:pt x="303555" y="1924050"/>
                </a:lnTo>
                <a:lnTo>
                  <a:pt x="348290" y="1803400"/>
                </a:lnTo>
                <a:lnTo>
                  <a:pt x="393024" y="1685925"/>
                </a:lnTo>
                <a:lnTo>
                  <a:pt x="444149" y="1568450"/>
                </a:lnTo>
                <a:lnTo>
                  <a:pt x="495274" y="1454150"/>
                </a:lnTo>
                <a:lnTo>
                  <a:pt x="549594" y="1339850"/>
                </a:lnTo>
                <a:lnTo>
                  <a:pt x="591712" y="1251226"/>
                </a:lnTo>
                <a:cubicBezTo>
                  <a:pt x="2831396" y="1180690"/>
                  <a:pt x="4853866" y="1156552"/>
                  <a:pt x="6064249" y="1151074"/>
                </a:cubicBezTo>
                <a:lnTo>
                  <a:pt x="6064249" y="795"/>
                </a:lnTo>
                <a:lnTo>
                  <a:pt x="1468319" y="1691"/>
                </a:lnTo>
                <a:close/>
              </a:path>
            </a:pathLst>
          </a:custGeom>
          <a:solidFill>
            <a:srgbClr val="6E686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/>
          </a:p>
        </p:txBody>
      </p:sp>
      <p:sp>
        <p:nvSpPr>
          <p:cNvPr id="115" name="Textplatzhalter 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82600" y="6597650"/>
            <a:ext cx="5508625" cy="153888"/>
          </a:xfrm>
        </p:spPr>
        <p:txBody>
          <a:bodyPr wrap="square" anchor="b">
            <a:spAutoFit/>
          </a:bodyPr>
          <a:lstStyle>
            <a:lvl1pPr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 | Source | Disclaimer</a:t>
            </a:r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743701" y="1628775"/>
            <a:ext cx="4881944" cy="1405513"/>
          </a:xfrm>
        </p:spPr>
        <p:txBody>
          <a:bodyPr wrap="square">
            <a:spAutoFit/>
          </a:bodyPr>
          <a:lstStyle>
            <a:lvl1pPr>
              <a:defRPr sz="2600"/>
            </a:lvl1pPr>
            <a:lvl2pPr>
              <a:buClr>
                <a:schemeClr val="tx1"/>
              </a:buClr>
              <a:defRPr sz="2600"/>
            </a:lvl2pPr>
            <a:lvl3pPr>
              <a:buClr>
                <a:schemeClr val="tx1"/>
              </a:buClr>
              <a:defRPr sz="26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grpSp>
        <p:nvGrpSpPr>
          <p:cNvPr id="3" name="Gruppieren 2"/>
          <p:cNvGrpSpPr/>
          <p:nvPr userDrawn="1"/>
        </p:nvGrpSpPr>
        <p:grpSpPr bwMode="ltGray">
          <a:xfrm>
            <a:off x="0" y="796"/>
            <a:ext cx="12198350" cy="1624807"/>
            <a:chOff x="0" y="796"/>
            <a:chExt cx="12198350" cy="1624807"/>
          </a:xfrm>
        </p:grpSpPr>
        <p:sp>
          <p:nvSpPr>
            <p:cNvPr id="28" name="Freeform 11"/>
            <p:cNvSpPr>
              <a:spLocks/>
            </p:cNvSpPr>
            <p:nvPr userDrawn="1"/>
          </p:nvSpPr>
          <p:spPr bwMode="ltGray">
            <a:xfrm>
              <a:off x="0" y="796"/>
              <a:ext cx="12198350" cy="1623752"/>
            </a:xfrm>
            <a:custGeom>
              <a:avLst/>
              <a:gdLst/>
              <a:ahLst/>
              <a:cxnLst/>
              <a:rect l="l" t="t" r="r" b="b"/>
              <a:pathLst>
                <a:path w="12198350" h="1623752">
                  <a:moveTo>
                    <a:pt x="12198350" y="0"/>
                  </a:moveTo>
                  <a:lnTo>
                    <a:pt x="12198350" y="1150279"/>
                  </a:lnTo>
                  <a:cubicBezTo>
                    <a:pt x="9787888" y="1161188"/>
                    <a:pt x="4156679" y="1246105"/>
                    <a:pt x="3175" y="1623752"/>
                  </a:cubicBezTo>
                  <a:lnTo>
                    <a:pt x="3175" y="1427954"/>
                  </a:lnTo>
                  <a:lnTo>
                    <a:pt x="0" y="1427954"/>
                  </a:lnTo>
                  <a:lnTo>
                    <a:pt x="0" y="2379"/>
                  </a:lnTo>
                  <a:close/>
                </a:path>
              </a:pathLst>
            </a:custGeom>
            <a:solidFill>
              <a:srgbClr val="040404">
                <a:alpha val="96078"/>
              </a:srgbClr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182" name="Gruppierung 140"/>
            <p:cNvGrpSpPr>
              <a:grpSpLocks noChangeAspect="1"/>
            </p:cNvGrpSpPr>
            <p:nvPr userDrawn="1"/>
          </p:nvGrpSpPr>
          <p:grpSpPr bwMode="ltGray">
            <a:xfrm>
              <a:off x="10291931" y="341313"/>
              <a:ext cx="1638132" cy="385201"/>
              <a:chOff x="6613648" y="2453653"/>
              <a:chExt cx="2815390" cy="662028"/>
            </a:xfrm>
            <a:solidFill>
              <a:schemeClr val="tx1"/>
            </a:solidFill>
          </p:grpSpPr>
          <p:sp>
            <p:nvSpPr>
              <p:cNvPr id="183" name="Freihandform 182"/>
              <p:cNvSpPr>
                <a:spLocks noChangeAspect="1" noChangeArrowheads="1"/>
              </p:cNvSpPr>
              <p:nvPr/>
            </p:nvSpPr>
            <p:spPr bwMode="lt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grpFill/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184" name="Freihandform 183"/>
              <p:cNvSpPr>
                <a:spLocks noChangeAspect="1" noChangeArrowheads="1"/>
              </p:cNvSpPr>
              <p:nvPr/>
            </p:nvSpPr>
            <p:spPr bwMode="lt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grpFill/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185" name="Freihandform 184"/>
              <p:cNvSpPr>
                <a:spLocks noChangeAspect="1" noChangeArrowheads="1"/>
              </p:cNvSpPr>
              <p:nvPr/>
            </p:nvSpPr>
            <p:spPr bwMode="lt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grpFill/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  <p:sp>
          <p:nvSpPr>
            <p:cNvPr id="29" name="Freeform 11"/>
            <p:cNvSpPr>
              <a:spLocks/>
            </p:cNvSpPr>
            <p:nvPr userDrawn="1"/>
          </p:nvSpPr>
          <p:spPr bwMode="ltGray">
            <a:xfrm>
              <a:off x="3175" y="1151075"/>
              <a:ext cx="12195175" cy="474528"/>
            </a:xfrm>
            <a:custGeom>
              <a:avLst/>
              <a:gdLst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4" fmla="*/ 93792 w 12207175"/>
                <a:gd name="connsiteY4" fmla="*/ 93820 h 1624807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2352 w 12207175"/>
                <a:gd name="connsiteY0" fmla="*/ 4126 h 1626553"/>
                <a:gd name="connsiteX1" fmla="*/ 31685 w 12207175"/>
                <a:gd name="connsiteY1" fmla="*/ 0 h 1626553"/>
                <a:gd name="connsiteX2" fmla="*/ 12207175 w 12207175"/>
                <a:gd name="connsiteY2" fmla="*/ 1746 h 1626553"/>
                <a:gd name="connsiteX3" fmla="*/ 12207175 w 12207175"/>
                <a:gd name="connsiteY3" fmla="*/ 1152025 h 1626553"/>
                <a:gd name="connsiteX4" fmla="*/ 0 w 12207175"/>
                <a:gd name="connsiteY4" fmla="*/ 1626553 h 1626553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12207175 w 12207175"/>
                <a:gd name="connsiteY0" fmla="*/ 0 h 1624807"/>
                <a:gd name="connsiteX1" fmla="*/ 12207175 w 12207175"/>
                <a:gd name="connsiteY1" fmla="*/ 1150279 h 1624807"/>
                <a:gd name="connsiteX2" fmla="*/ 0 w 12207175"/>
                <a:gd name="connsiteY2" fmla="*/ 1624807 h 1624807"/>
                <a:gd name="connsiteX0" fmla="*/ 12207175 w 12207175"/>
                <a:gd name="connsiteY0" fmla="*/ 0 h 474528"/>
                <a:gd name="connsiteX1" fmla="*/ 0 w 12207175"/>
                <a:gd name="connsiteY1" fmla="*/ 474528 h 47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07175" h="474528">
                  <a:moveTo>
                    <a:pt x="12207175" y="0"/>
                  </a:moveTo>
                  <a:cubicBezTo>
                    <a:pt x="9794392" y="10920"/>
                    <a:pt x="4154653" y="95989"/>
                    <a:pt x="0" y="474528"/>
                  </a:cubicBezTo>
                </a:path>
              </a:pathLst>
            </a:custGeom>
            <a:noFill/>
            <a:ln w="9525">
              <a:solidFill>
                <a:srgbClr val="F9B59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19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0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1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7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0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90070341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Pictures, COF Clin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8545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Picture 1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Freeform 5"/>
          <p:cNvSpPr>
            <a:spLocks/>
          </p:cNvSpPr>
          <p:nvPr userDrawn="1"/>
        </p:nvSpPr>
        <p:spPr bwMode="auto">
          <a:xfrm>
            <a:off x="6134101" y="1"/>
            <a:ext cx="6067904" cy="6308725"/>
          </a:xfrm>
          <a:custGeom>
            <a:avLst/>
            <a:gdLst/>
            <a:ahLst/>
            <a:cxnLst/>
            <a:rect l="l" t="t" r="r" b="b"/>
            <a:pathLst>
              <a:path w="6029325" h="6308725">
                <a:moveTo>
                  <a:pt x="1460500" y="0"/>
                </a:moveTo>
                <a:lnTo>
                  <a:pt x="6029325" y="0"/>
                </a:lnTo>
                <a:lnTo>
                  <a:pt x="6029325" y="6308725"/>
                </a:lnTo>
                <a:lnTo>
                  <a:pt x="654617" y="6308725"/>
                </a:lnTo>
                <a:lnTo>
                  <a:pt x="622300" y="6248400"/>
                </a:lnTo>
                <a:lnTo>
                  <a:pt x="574675" y="6156325"/>
                </a:lnTo>
                <a:lnTo>
                  <a:pt x="530225" y="6064250"/>
                </a:lnTo>
                <a:lnTo>
                  <a:pt x="485775" y="5972175"/>
                </a:lnTo>
                <a:lnTo>
                  <a:pt x="444500" y="5876925"/>
                </a:lnTo>
                <a:lnTo>
                  <a:pt x="403225" y="5781675"/>
                </a:lnTo>
                <a:lnTo>
                  <a:pt x="365125" y="5686425"/>
                </a:lnTo>
                <a:lnTo>
                  <a:pt x="330200" y="5588000"/>
                </a:lnTo>
                <a:lnTo>
                  <a:pt x="295275" y="5492750"/>
                </a:lnTo>
                <a:lnTo>
                  <a:pt x="263525" y="5391150"/>
                </a:lnTo>
                <a:lnTo>
                  <a:pt x="231775" y="5292725"/>
                </a:lnTo>
                <a:lnTo>
                  <a:pt x="203200" y="5194300"/>
                </a:lnTo>
                <a:lnTo>
                  <a:pt x="174625" y="5092700"/>
                </a:lnTo>
                <a:lnTo>
                  <a:pt x="149225" y="4991100"/>
                </a:lnTo>
                <a:lnTo>
                  <a:pt x="127000" y="4889500"/>
                </a:lnTo>
                <a:lnTo>
                  <a:pt x="104775" y="4784725"/>
                </a:lnTo>
                <a:lnTo>
                  <a:pt x="85725" y="4679950"/>
                </a:lnTo>
                <a:lnTo>
                  <a:pt x="69850" y="4575175"/>
                </a:lnTo>
                <a:lnTo>
                  <a:pt x="53975" y="4470400"/>
                </a:lnTo>
                <a:lnTo>
                  <a:pt x="38100" y="4365625"/>
                </a:lnTo>
                <a:lnTo>
                  <a:pt x="28575" y="4257675"/>
                </a:lnTo>
                <a:lnTo>
                  <a:pt x="19050" y="4152900"/>
                </a:lnTo>
                <a:lnTo>
                  <a:pt x="12700" y="4044950"/>
                </a:lnTo>
                <a:lnTo>
                  <a:pt x="6350" y="3937000"/>
                </a:lnTo>
                <a:lnTo>
                  <a:pt x="3175" y="3825875"/>
                </a:lnTo>
                <a:lnTo>
                  <a:pt x="0" y="3717925"/>
                </a:lnTo>
                <a:lnTo>
                  <a:pt x="3175" y="3584575"/>
                </a:lnTo>
                <a:lnTo>
                  <a:pt x="9525" y="3451225"/>
                </a:lnTo>
                <a:lnTo>
                  <a:pt x="15875" y="3317875"/>
                </a:lnTo>
                <a:lnTo>
                  <a:pt x="28575" y="3184525"/>
                </a:lnTo>
                <a:lnTo>
                  <a:pt x="41275" y="3054350"/>
                </a:lnTo>
                <a:lnTo>
                  <a:pt x="57150" y="2924175"/>
                </a:lnTo>
                <a:lnTo>
                  <a:pt x="79375" y="2797175"/>
                </a:lnTo>
                <a:lnTo>
                  <a:pt x="101600" y="2667000"/>
                </a:lnTo>
                <a:lnTo>
                  <a:pt x="127000" y="2540000"/>
                </a:lnTo>
                <a:lnTo>
                  <a:pt x="158750" y="2416175"/>
                </a:lnTo>
                <a:lnTo>
                  <a:pt x="190500" y="2292350"/>
                </a:lnTo>
                <a:lnTo>
                  <a:pt x="225425" y="2168525"/>
                </a:lnTo>
                <a:lnTo>
                  <a:pt x="263525" y="2044700"/>
                </a:lnTo>
                <a:lnTo>
                  <a:pt x="301625" y="1924050"/>
                </a:lnTo>
                <a:lnTo>
                  <a:pt x="346075" y="1803400"/>
                </a:lnTo>
                <a:lnTo>
                  <a:pt x="390525" y="1685925"/>
                </a:lnTo>
                <a:lnTo>
                  <a:pt x="441325" y="1568450"/>
                </a:lnTo>
                <a:lnTo>
                  <a:pt x="492125" y="1454150"/>
                </a:lnTo>
                <a:lnTo>
                  <a:pt x="546100" y="1339850"/>
                </a:lnTo>
                <a:lnTo>
                  <a:pt x="600075" y="1225550"/>
                </a:lnTo>
                <a:lnTo>
                  <a:pt x="660400" y="1114425"/>
                </a:lnTo>
                <a:lnTo>
                  <a:pt x="720725" y="1006475"/>
                </a:lnTo>
                <a:lnTo>
                  <a:pt x="784225" y="895350"/>
                </a:lnTo>
                <a:lnTo>
                  <a:pt x="850900" y="790575"/>
                </a:lnTo>
                <a:lnTo>
                  <a:pt x="917575" y="685800"/>
                </a:lnTo>
                <a:lnTo>
                  <a:pt x="990600" y="581025"/>
                </a:lnTo>
                <a:lnTo>
                  <a:pt x="1063625" y="479425"/>
                </a:lnTo>
                <a:lnTo>
                  <a:pt x="1136650" y="381000"/>
                </a:lnTo>
                <a:lnTo>
                  <a:pt x="1216025" y="282575"/>
                </a:lnTo>
                <a:lnTo>
                  <a:pt x="1295400" y="187325"/>
                </a:lnTo>
                <a:lnTo>
                  <a:pt x="1377950" y="92075"/>
                </a:lnTo>
                <a:close/>
              </a:path>
            </a:pathLst>
          </a:custGeom>
          <a:solidFill>
            <a:srgbClr val="6E686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/>
          </a:p>
        </p:txBody>
      </p:sp>
      <p:sp>
        <p:nvSpPr>
          <p:cNvPr id="115" name="Textplatzhalter 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82600" y="6597650"/>
            <a:ext cx="5508625" cy="153888"/>
          </a:xfrm>
        </p:spPr>
        <p:txBody>
          <a:bodyPr wrap="square" anchor="b">
            <a:spAutoFit/>
          </a:bodyPr>
          <a:lstStyle>
            <a:lvl1pPr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 | Source | Disclaimer</a:t>
            </a:r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877175" y="1628775"/>
            <a:ext cx="3749675" cy="1128514"/>
          </a:xfrm>
        </p:spPr>
        <p:txBody>
          <a:bodyPr>
            <a:spAutoFit/>
          </a:bodyPr>
          <a:lstStyle>
            <a:lvl1pPr>
              <a:defRPr sz="2000"/>
            </a:lvl1pPr>
            <a:lvl2pPr>
              <a:buClr>
                <a:schemeClr val="tx1"/>
              </a:buClr>
              <a:defRPr sz="2000"/>
            </a:lvl2pPr>
            <a:lvl3pPr>
              <a:buClr>
                <a:schemeClr val="tx1"/>
              </a:buCl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12" name="Textplatzhalter 9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877175" y="3139282"/>
            <a:ext cx="3749675" cy="1128514"/>
          </a:xfrm>
        </p:spPr>
        <p:txBody>
          <a:bodyPr>
            <a:spAutoFit/>
          </a:bodyPr>
          <a:lstStyle>
            <a:lvl1pPr>
              <a:defRPr sz="2000"/>
            </a:lvl1pPr>
            <a:lvl2pPr>
              <a:buClr>
                <a:schemeClr val="tx1"/>
              </a:buClr>
              <a:defRPr sz="2000"/>
            </a:lvl2pPr>
            <a:lvl3pPr>
              <a:buClr>
                <a:schemeClr val="tx1"/>
              </a:buCl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14" name="Textplatzhalter 9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877175" y="4649788"/>
            <a:ext cx="3749675" cy="1128514"/>
          </a:xfrm>
        </p:spPr>
        <p:txBody>
          <a:bodyPr>
            <a:spAutoFit/>
          </a:bodyPr>
          <a:lstStyle>
            <a:lvl1pPr>
              <a:defRPr sz="2000"/>
            </a:lvl1pPr>
            <a:lvl2pPr>
              <a:buClr>
                <a:schemeClr val="tx1"/>
              </a:buClr>
              <a:defRPr sz="2000"/>
            </a:lvl2pPr>
            <a:lvl3pPr>
              <a:buClr>
                <a:schemeClr val="tx1"/>
              </a:buCl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grpSp>
        <p:nvGrpSpPr>
          <p:cNvPr id="3" name="Gruppieren 2"/>
          <p:cNvGrpSpPr/>
          <p:nvPr userDrawn="1"/>
        </p:nvGrpSpPr>
        <p:grpSpPr bwMode="ltGray">
          <a:xfrm>
            <a:off x="0" y="796"/>
            <a:ext cx="12198350" cy="1624807"/>
            <a:chOff x="0" y="796"/>
            <a:chExt cx="12198350" cy="1624807"/>
          </a:xfrm>
        </p:grpSpPr>
        <p:sp>
          <p:nvSpPr>
            <p:cNvPr id="119" name="Freeform 11"/>
            <p:cNvSpPr>
              <a:spLocks/>
            </p:cNvSpPr>
            <p:nvPr userDrawn="1"/>
          </p:nvSpPr>
          <p:spPr bwMode="ltGray">
            <a:xfrm>
              <a:off x="0" y="796"/>
              <a:ext cx="12198350" cy="1624031"/>
            </a:xfrm>
            <a:custGeom>
              <a:avLst/>
              <a:gdLst/>
              <a:ahLst/>
              <a:cxnLst/>
              <a:rect l="l" t="t" r="r" b="b"/>
              <a:pathLst>
                <a:path w="12198350" h="1624031">
                  <a:moveTo>
                    <a:pt x="12198350" y="0"/>
                  </a:moveTo>
                  <a:lnTo>
                    <a:pt x="12198350" y="1150279"/>
                  </a:lnTo>
                  <a:cubicBezTo>
                    <a:pt x="9787274" y="1161191"/>
                    <a:pt x="4153809" y="1246148"/>
                    <a:pt x="0" y="1624031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rgbClr val="040404">
                <a:alpha val="96078"/>
              </a:srgbClr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182" name="Gruppierung 140"/>
            <p:cNvGrpSpPr>
              <a:grpSpLocks noChangeAspect="1"/>
            </p:cNvGrpSpPr>
            <p:nvPr userDrawn="1"/>
          </p:nvGrpSpPr>
          <p:grpSpPr bwMode="ltGray">
            <a:xfrm>
              <a:off x="10291931" y="341313"/>
              <a:ext cx="1638132" cy="385201"/>
              <a:chOff x="6613648" y="2453653"/>
              <a:chExt cx="2815390" cy="662028"/>
            </a:xfrm>
            <a:solidFill>
              <a:schemeClr val="tx1"/>
            </a:solidFill>
          </p:grpSpPr>
          <p:sp>
            <p:nvSpPr>
              <p:cNvPr id="183" name="Freihandform 182"/>
              <p:cNvSpPr>
                <a:spLocks noChangeAspect="1" noChangeArrowheads="1"/>
              </p:cNvSpPr>
              <p:nvPr/>
            </p:nvSpPr>
            <p:spPr bwMode="lt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grpFill/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"/>
                    <a:cs typeface=""/>
                  </a:rPr>
                  <a:t> </a:t>
                </a:r>
              </a:p>
            </p:txBody>
          </p:sp>
          <p:sp>
            <p:nvSpPr>
              <p:cNvPr id="184" name="Freihandform 183"/>
              <p:cNvSpPr>
                <a:spLocks noChangeAspect="1" noChangeArrowheads="1"/>
              </p:cNvSpPr>
              <p:nvPr/>
            </p:nvSpPr>
            <p:spPr bwMode="lt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grpFill/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  <p:sp>
            <p:nvSpPr>
              <p:cNvPr id="185" name="Freihandform 184"/>
              <p:cNvSpPr>
                <a:spLocks noChangeAspect="1" noChangeArrowheads="1"/>
              </p:cNvSpPr>
              <p:nvPr/>
            </p:nvSpPr>
            <p:spPr bwMode="lt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grpFill/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08895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endParaRPr>
              </a:p>
            </p:txBody>
          </p:sp>
        </p:grpSp>
        <p:sp>
          <p:nvSpPr>
            <p:cNvPr id="121" name="Freeform 11"/>
            <p:cNvSpPr>
              <a:spLocks/>
            </p:cNvSpPr>
            <p:nvPr userDrawn="1"/>
          </p:nvSpPr>
          <p:spPr bwMode="ltGray">
            <a:xfrm>
              <a:off x="0" y="1151075"/>
              <a:ext cx="12198350" cy="474528"/>
            </a:xfrm>
            <a:custGeom>
              <a:avLst/>
              <a:gdLst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4" fmla="*/ 93792 w 12207175"/>
                <a:gd name="connsiteY4" fmla="*/ 93820 h 1624807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2352 w 12207175"/>
                <a:gd name="connsiteY0" fmla="*/ 4126 h 1626553"/>
                <a:gd name="connsiteX1" fmla="*/ 31685 w 12207175"/>
                <a:gd name="connsiteY1" fmla="*/ 0 h 1626553"/>
                <a:gd name="connsiteX2" fmla="*/ 12207175 w 12207175"/>
                <a:gd name="connsiteY2" fmla="*/ 1746 h 1626553"/>
                <a:gd name="connsiteX3" fmla="*/ 12207175 w 12207175"/>
                <a:gd name="connsiteY3" fmla="*/ 1152025 h 1626553"/>
                <a:gd name="connsiteX4" fmla="*/ 0 w 12207175"/>
                <a:gd name="connsiteY4" fmla="*/ 1626553 h 1626553"/>
                <a:gd name="connsiteX0" fmla="*/ 2352 w 12207175"/>
                <a:gd name="connsiteY0" fmla="*/ 2380 h 1624807"/>
                <a:gd name="connsiteX1" fmla="*/ 12207175 w 12207175"/>
                <a:gd name="connsiteY1" fmla="*/ 0 h 1624807"/>
                <a:gd name="connsiteX2" fmla="*/ 12207175 w 12207175"/>
                <a:gd name="connsiteY2" fmla="*/ 1150279 h 1624807"/>
                <a:gd name="connsiteX3" fmla="*/ 0 w 12207175"/>
                <a:gd name="connsiteY3" fmla="*/ 1624807 h 1624807"/>
                <a:gd name="connsiteX0" fmla="*/ 12207175 w 12207175"/>
                <a:gd name="connsiteY0" fmla="*/ 0 h 1624807"/>
                <a:gd name="connsiteX1" fmla="*/ 12207175 w 12207175"/>
                <a:gd name="connsiteY1" fmla="*/ 1150279 h 1624807"/>
                <a:gd name="connsiteX2" fmla="*/ 0 w 12207175"/>
                <a:gd name="connsiteY2" fmla="*/ 1624807 h 1624807"/>
                <a:gd name="connsiteX0" fmla="*/ 12207175 w 12207175"/>
                <a:gd name="connsiteY0" fmla="*/ 0 h 474528"/>
                <a:gd name="connsiteX1" fmla="*/ 0 w 12207175"/>
                <a:gd name="connsiteY1" fmla="*/ 474528 h 47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07175" h="474528">
                  <a:moveTo>
                    <a:pt x="12207175" y="0"/>
                  </a:moveTo>
                  <a:cubicBezTo>
                    <a:pt x="9794392" y="10920"/>
                    <a:pt x="4154653" y="95989"/>
                    <a:pt x="0" y="474528"/>
                  </a:cubicBezTo>
                </a:path>
              </a:pathLst>
            </a:custGeom>
            <a:noFill/>
            <a:ln w="9525">
              <a:solidFill>
                <a:srgbClr val="F9B59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>
                <a:solidFill>
                  <a:srgbClr val="5F5656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grpSp>
        <p:nvGrpSpPr>
          <p:cNvPr id="21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27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8" name="Gruppieren 11"/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29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0" name="Picture 20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161492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8350" cy="457306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8350" cy="4573060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438" y="4961285"/>
            <a:ext cx="7776448" cy="1463379"/>
          </a:xfrm>
        </p:spPr>
        <p:txBody>
          <a:bodyPr anchor="ctr">
            <a:normAutofit/>
          </a:bodyPr>
          <a:lstStyle>
            <a:lvl1pPr algn="r">
              <a:defRPr sz="5001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5085" y="4961285"/>
            <a:ext cx="3202067" cy="1463379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91" indent="0" algn="ctr">
              <a:buNone/>
              <a:defRPr sz="1800"/>
            </a:lvl2pPr>
            <a:lvl3pPr marL="914583" indent="0" algn="ctr">
              <a:buNone/>
              <a:defRPr sz="1800"/>
            </a:lvl3pPr>
            <a:lvl4pPr marL="1371874" indent="0" algn="ctr">
              <a:buNone/>
              <a:defRPr sz="1800"/>
            </a:lvl4pPr>
            <a:lvl5pPr marL="1829166" indent="0" algn="ctr">
              <a:buNone/>
              <a:defRPr sz="1800"/>
            </a:lvl5pPr>
            <a:lvl6pPr marL="2286457" indent="0" algn="ctr">
              <a:buNone/>
              <a:defRPr sz="1800"/>
            </a:lvl6pPr>
            <a:lvl7pPr marL="2743749" indent="0" algn="ctr">
              <a:buNone/>
              <a:defRPr sz="1800"/>
            </a:lvl7pPr>
            <a:lvl8pPr marL="3201040" indent="0" algn="ctr">
              <a:buNone/>
              <a:defRPr sz="1800"/>
            </a:lvl8pPr>
            <a:lvl9pPr marL="3658332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91211" y="5265325"/>
            <a:ext cx="0" cy="914612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42428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92197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8350" cy="457306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8350" cy="4573060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38" y="4961285"/>
            <a:ext cx="7776448" cy="1463379"/>
          </a:xfrm>
        </p:spPr>
        <p:txBody>
          <a:bodyPr anchor="ctr">
            <a:normAutofit/>
          </a:bodyPr>
          <a:lstStyle>
            <a:lvl1pPr algn="r">
              <a:defRPr sz="5001" b="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5085" y="4961285"/>
            <a:ext cx="3202067" cy="1463379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9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5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87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91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45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74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10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83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91211" y="5265325"/>
            <a:ext cx="0" cy="914612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692039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661" y="585352"/>
            <a:ext cx="9725135" cy="14999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660" y="2286529"/>
            <a:ext cx="4757357" cy="40242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92439" y="2286529"/>
            <a:ext cx="4757357" cy="40242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37420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3200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8850" y="273050"/>
            <a:ext cx="6819900" cy="58547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0"/>
            <a:ext cx="4013200" cy="46926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661" y="2180140"/>
            <a:ext cx="4757357" cy="823151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91" indent="0">
              <a:buNone/>
              <a:defRPr sz="2000" b="1"/>
            </a:lvl2pPr>
            <a:lvl3pPr marL="914583" indent="0">
              <a:buNone/>
              <a:defRPr sz="1800" b="1"/>
            </a:lvl3pPr>
            <a:lvl4pPr marL="1371874" indent="0">
              <a:buNone/>
              <a:defRPr sz="1600" b="1"/>
            </a:lvl4pPr>
            <a:lvl5pPr marL="1829166" indent="0">
              <a:buNone/>
              <a:defRPr sz="1600" b="1"/>
            </a:lvl5pPr>
            <a:lvl6pPr marL="2286457" indent="0">
              <a:buNone/>
              <a:defRPr sz="1600" b="1"/>
            </a:lvl6pPr>
            <a:lvl7pPr marL="2743749" indent="0">
              <a:buNone/>
              <a:defRPr sz="1600" b="1"/>
            </a:lvl7pPr>
            <a:lvl8pPr marL="3201040" indent="0">
              <a:buNone/>
              <a:defRPr sz="1600" b="1"/>
            </a:lvl8pPr>
            <a:lvl9pPr marL="365833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661" y="2968475"/>
            <a:ext cx="4757357" cy="33423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4008" y="2180140"/>
            <a:ext cx="4757357" cy="823151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91" indent="0">
              <a:buNone/>
              <a:defRPr sz="2000" b="1"/>
            </a:lvl2pPr>
            <a:lvl3pPr marL="914583" indent="0">
              <a:buNone/>
              <a:defRPr sz="1800" b="1"/>
            </a:lvl3pPr>
            <a:lvl4pPr marL="1371874" indent="0">
              <a:buNone/>
              <a:defRPr sz="1600" b="1"/>
            </a:lvl4pPr>
            <a:lvl5pPr marL="1829166" indent="0">
              <a:buNone/>
              <a:defRPr sz="1600" b="1"/>
            </a:lvl5pPr>
            <a:lvl6pPr marL="2286457" indent="0">
              <a:buNone/>
              <a:defRPr sz="1600" b="1"/>
            </a:lvl6pPr>
            <a:lvl7pPr marL="2743749" indent="0">
              <a:buNone/>
              <a:defRPr sz="1600" b="1"/>
            </a:lvl7pPr>
            <a:lvl8pPr marL="3201040" indent="0">
              <a:buNone/>
              <a:defRPr sz="1600" b="1"/>
            </a:lvl8pPr>
            <a:lvl9pPr marL="3658332" indent="0">
              <a:buNone/>
              <a:defRPr sz="1600" b="1"/>
            </a:lvl9pPr>
          </a:lstStyle>
          <a:p>
            <a:pPr marL="0" lvl="0" indent="0" algn="l" defTabSz="914583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4008" y="2968475"/>
            <a:ext cx="4757357" cy="33423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30744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53106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66038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661" y="471618"/>
            <a:ext cx="4391406" cy="1737762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7976" y="823150"/>
            <a:ext cx="5681382" cy="518584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661" y="2258029"/>
            <a:ext cx="4391406" cy="3763165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91" indent="0">
              <a:buNone/>
              <a:defRPr sz="1200"/>
            </a:lvl2pPr>
            <a:lvl3pPr marL="914583" indent="0">
              <a:buNone/>
              <a:defRPr sz="1000"/>
            </a:lvl3pPr>
            <a:lvl4pPr marL="1371874" indent="0">
              <a:buNone/>
              <a:defRPr sz="900"/>
            </a:lvl4pPr>
            <a:lvl5pPr marL="1829166" indent="0">
              <a:buNone/>
              <a:defRPr sz="900"/>
            </a:lvl5pPr>
            <a:lvl6pPr marL="2286457" indent="0">
              <a:buNone/>
              <a:defRPr sz="900"/>
            </a:lvl6pPr>
            <a:lvl7pPr marL="2743749" indent="0">
              <a:buNone/>
              <a:defRPr sz="900"/>
            </a:lvl7pPr>
            <a:lvl8pPr marL="3201040" indent="0">
              <a:buNone/>
              <a:defRPr sz="900"/>
            </a:lvl8pPr>
            <a:lvl9pPr marL="365833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26316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38" y="4961286"/>
            <a:ext cx="7776448" cy="1463379"/>
          </a:xfrm>
        </p:spPr>
        <p:txBody>
          <a:bodyPr anchor="ctr">
            <a:normAutofit/>
          </a:bodyPr>
          <a:lstStyle>
            <a:lvl1pPr algn="r">
              <a:defRPr sz="5001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95300" cy="4573059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1"/>
            </a:lvl1pPr>
            <a:lvl2pPr marL="457291" indent="0">
              <a:buNone/>
              <a:defRPr sz="2801"/>
            </a:lvl2pPr>
            <a:lvl3pPr marL="914583" indent="0">
              <a:buNone/>
              <a:defRPr sz="2400"/>
            </a:lvl3pPr>
            <a:lvl4pPr marL="1371874" indent="0">
              <a:buNone/>
              <a:defRPr sz="2000"/>
            </a:lvl4pPr>
            <a:lvl5pPr marL="1829166" indent="0">
              <a:buNone/>
              <a:defRPr sz="2000"/>
            </a:lvl5pPr>
            <a:lvl6pPr marL="2286457" indent="0">
              <a:buNone/>
              <a:defRPr sz="2000"/>
            </a:lvl6pPr>
            <a:lvl7pPr marL="2743749" indent="0">
              <a:buNone/>
              <a:defRPr sz="2000"/>
            </a:lvl7pPr>
            <a:lvl8pPr marL="3201040" indent="0">
              <a:buNone/>
              <a:defRPr sz="2000"/>
            </a:lvl8pPr>
            <a:lvl9pPr marL="3658332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5085" y="4961286"/>
            <a:ext cx="3202067" cy="1463379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91" indent="0">
              <a:buNone/>
              <a:defRPr sz="1400"/>
            </a:lvl2pPr>
            <a:lvl3pPr marL="914583" indent="0">
              <a:buNone/>
              <a:defRPr sz="1200"/>
            </a:lvl3pPr>
            <a:lvl4pPr marL="1371874" indent="0">
              <a:buNone/>
              <a:defRPr sz="1000"/>
            </a:lvl4pPr>
            <a:lvl5pPr marL="1829166" indent="0">
              <a:buNone/>
              <a:defRPr sz="1000"/>
            </a:lvl5pPr>
            <a:lvl6pPr marL="2286457" indent="0">
              <a:buNone/>
              <a:defRPr sz="1000"/>
            </a:lvl6pPr>
            <a:lvl7pPr marL="2743749" indent="0">
              <a:buNone/>
              <a:defRPr sz="1000"/>
            </a:lvl7pPr>
            <a:lvl8pPr marL="3201040" indent="0">
              <a:buNone/>
              <a:defRPr sz="1000"/>
            </a:lvl8pPr>
            <a:lvl9pPr marL="3658332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91211" y="5265325"/>
            <a:ext cx="0" cy="914612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18090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66232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9445" y="762176"/>
            <a:ext cx="2630269" cy="5411453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1117" y="762176"/>
            <a:ext cx="7585849" cy="541145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63639" y="59145"/>
            <a:ext cx="0" cy="91487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200244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2600" y="1630363"/>
            <a:ext cx="11160125" cy="2308324"/>
          </a:xfrm>
        </p:spPr>
        <p:txBody>
          <a:bodyPr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Subhead, Calibri, 2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2600" y="6597650"/>
            <a:ext cx="5508625" cy="153888"/>
          </a:xfrm>
        </p:spPr>
        <p:txBody>
          <a:bodyPr wrap="square" anchor="b">
            <a:spAutoFit/>
          </a:bodyPr>
          <a:lstStyle>
            <a:lvl1pPr>
              <a:defRPr sz="10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12649206" y="1"/>
            <a:ext cx="1865457" cy="5981700"/>
            <a:chOff x="12649206" y="1"/>
            <a:chExt cx="1865457" cy="5981700"/>
          </a:xfrm>
        </p:grpSpPr>
        <p:sp>
          <p:nvSpPr>
            <p:cNvPr id="11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To ensure a clean and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swift workflow with </a:t>
              </a: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bullet points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, please use th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PRE-SET PLACEHOLDERS or FORMATTED TEXTBOXES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 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– do not use “normal” textboxes that have been added via th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 add  textbox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se textboxes cannot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  <a:sym typeface="Wingdings" panose="05000000000000000000" pitchFamily="2" charset="2"/>
                </a:rPr>
                <a:t>AUTOMATIC INDENTATION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IN PLACEHOLDERS are only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  <a:t>the list level               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anose="05000000000000000000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(or Shift + Alt +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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 /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)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b="1" dirty="0">
                  <a:solidFill>
                    <a:schemeClr val="tx1"/>
                  </a:solidFill>
                  <a:latin typeface="+mn-lt"/>
                </a:rPr>
                <a:t>Formatted textboxes/ placeholders </a:t>
              </a:r>
              <a:r>
                <a:rPr lang="en-US" sz="1100" dirty="0">
                  <a:solidFill>
                    <a:schemeClr val="bg1"/>
                  </a:solidFill>
                  <a:latin typeface="+mn-lt"/>
                </a:rPr>
                <a:t>are available in the template – just make a copy OR: generate a new placeholder by following these steps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Start  new slid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 choose layout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"Content Slide"</a:t>
              </a:r>
            </a:p>
            <a:p>
              <a:pPr marL="177800" lvl="1" indent="-177800">
                <a:spcBef>
                  <a:spcPts val="60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Placeholders can be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filled and then copied. </a:t>
              </a:r>
              <a:b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</a:br>
              <a:r>
                <a:rPr lang="en-US" sz="1100" dirty="0">
                  <a:solidFill>
                    <a:schemeClr val="bg1"/>
                  </a:solidFill>
                  <a:latin typeface="+mn-lt"/>
                  <a:sym typeface="Wingdings" pitchFamily="2" charset="2"/>
                </a:rPr>
                <a:t>The copied placeholder will keep its formatting </a:t>
              </a:r>
              <a:endParaRPr lang="en-US" sz="110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12" name="Gruppieren 11"/>
            <p:cNvGrpSpPr/>
            <p:nvPr userDrawn="1">
              <p:custDataLst>
                <p:tags r:id="rId2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14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15" name="Picture 20"/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044" t="4977" r="38417" b="92430"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18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10766425" y="6499225"/>
            <a:ext cx="914400" cy="914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609992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775" y="4802188"/>
            <a:ext cx="7319963" cy="5667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775" y="612775"/>
            <a:ext cx="7319963" cy="41163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775" y="5368925"/>
            <a:ext cx="7319963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3" Type="http://schemas.openxmlformats.org/officeDocument/2006/relationships/slideLayout" Target="../slideLayouts/slideLayout73.xml"/><Relationship Id="rId7" Type="http://schemas.openxmlformats.org/officeDocument/2006/relationships/tags" Target="../tags/tag130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theme" Target="../theme/theme3.xml"/><Relationship Id="rId11" Type="http://schemas.openxmlformats.org/officeDocument/2006/relationships/oleObject" Target="../embeddings/oleObject45.bin"/><Relationship Id="rId5" Type="http://schemas.openxmlformats.org/officeDocument/2006/relationships/slideLayout" Target="../slideLayouts/slideLayout75.xml"/><Relationship Id="rId10" Type="http://schemas.openxmlformats.org/officeDocument/2006/relationships/tags" Target="../tags/tag133.xml"/><Relationship Id="rId4" Type="http://schemas.openxmlformats.org/officeDocument/2006/relationships/slideLayout" Target="../slideLayouts/slideLayout74.xml"/><Relationship Id="rId9" Type="http://schemas.openxmlformats.org/officeDocument/2006/relationships/tags" Target="../tags/tag1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915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9150" cy="45275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7938"/>
            <a:ext cx="28463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7188" y="6357938"/>
            <a:ext cx="38639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2363" y="6357938"/>
            <a:ext cx="28463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2" r:id="rId12"/>
    <p:sldLayoutId id="2147483661" r:id="rId13"/>
    <p:sldLayoutId id="2147483649" r:id="rId14"/>
    <p:sldLayoutId id="2147483719" r:id="rId15"/>
    <p:sldLayoutId id="2147483720" r:id="rId16"/>
    <p:sldLayoutId id="2147483660" r:id="rId17"/>
    <p:sldLayoutId id="2147483688" r:id="rId18"/>
    <p:sldLayoutId id="2147483687" r:id="rId19"/>
    <p:sldLayoutId id="2147483686" r:id="rId20"/>
    <p:sldLayoutId id="2147483721" r:id="rId21"/>
    <p:sldLayoutId id="2147483722" r:id="rId22"/>
    <p:sldLayoutId id="2147483669" r:id="rId23"/>
    <p:sldLayoutId id="2147483670" r:id="rId24"/>
    <p:sldLayoutId id="2147483671" r:id="rId25"/>
    <p:sldLayoutId id="2147483662" r:id="rId26"/>
    <p:sldLayoutId id="2147483706" r:id="rId27"/>
    <p:sldLayoutId id="2147483707" r:id="rId28"/>
    <p:sldLayoutId id="2147483708" r:id="rId29"/>
    <p:sldLayoutId id="2147483663" r:id="rId30"/>
    <p:sldLayoutId id="2147483664" r:id="rId31"/>
    <p:sldLayoutId id="2147483709" r:id="rId32"/>
    <p:sldLayoutId id="2147483710" r:id="rId33"/>
    <p:sldLayoutId id="2147483711" r:id="rId34"/>
    <p:sldLayoutId id="2147483665" r:id="rId35"/>
    <p:sldLayoutId id="2147483666" r:id="rId36"/>
    <p:sldLayoutId id="2147483712" r:id="rId37"/>
    <p:sldLayoutId id="2147483713" r:id="rId38"/>
    <p:sldLayoutId id="2147483714" r:id="rId39"/>
    <p:sldLayoutId id="2147483726" r:id="rId40"/>
    <p:sldLayoutId id="2147483668" r:id="rId41"/>
    <p:sldLayoutId id="2147483723" r:id="rId42"/>
    <p:sldLayoutId id="2147483724" r:id="rId43"/>
    <p:sldLayoutId id="2147483725" r:id="rId44"/>
    <p:sldLayoutId id="2147483654" r:id="rId45"/>
    <p:sldLayoutId id="2147483672" r:id="rId46"/>
    <p:sldLayoutId id="2147483673" r:id="rId47"/>
    <p:sldLayoutId id="2147483674" r:id="rId48"/>
    <p:sldLayoutId id="2147483675" r:id="rId49"/>
    <p:sldLayoutId id="2147483676" r:id="rId50"/>
    <p:sldLayoutId id="2147483677" r:id="rId51"/>
    <p:sldLayoutId id="2147483693" r:id="rId52"/>
    <p:sldLayoutId id="2147483694" r:id="rId53"/>
    <p:sldLayoutId id="2147483700" r:id="rId54"/>
    <p:sldLayoutId id="2147483701" r:id="rId55"/>
    <p:sldLayoutId id="2147483696" r:id="rId56"/>
    <p:sldLayoutId id="2147483698" r:id="rId57"/>
    <p:sldLayoutId id="2147483697" r:id="rId58"/>
    <p:sldLayoutId id="2147483690" r:id="rId59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915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9150" cy="45275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7938"/>
            <a:ext cx="28463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254B60-AE64-4457-8407-F0564DC7EF0E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7188" y="6357938"/>
            <a:ext cx="38639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2363" y="6357938"/>
            <a:ext cx="28463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ADDBC3-A1D4-4B18-8425-99112FF94795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4040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345830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270" imgH="270" progId="">
                  <p:embed/>
                </p:oleObj>
              </mc:Choice>
              <mc:Fallback>
                <p:oleObj name="think-cell Folie" r:id="rId11" imgW="270" imgH="270" progId="">
                  <p:embed/>
                  <p:pic>
                    <p:nvPicPr>
                      <p:cNvPr id="0" name="Picture 1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2601" y="216377"/>
            <a:ext cx="9144000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82600" y="1630363"/>
            <a:ext cx="11160125" cy="467836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/>
              <a:t>Subhead, Calibri, 2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TextBox 13 Id19"/>
          <p:cNvSpPr txBox="1"/>
          <p:nvPr>
            <p:custDataLst>
              <p:tags r:id="rId9"/>
            </p:custDataLst>
          </p:nvPr>
        </p:nvSpPr>
        <p:spPr>
          <a:xfrm>
            <a:off x="8016876" y="6396038"/>
            <a:ext cx="361363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chemeClr val="tx1"/>
                </a:solidFill>
                <a:latin typeface="Calibri" panose="020F0502020204030204" pitchFamily="34" charset="0"/>
              </a:rPr>
              <a:t>Author | Department</a:t>
            </a:r>
          </a:p>
        </p:txBody>
      </p:sp>
      <p:sp>
        <p:nvSpPr>
          <p:cNvPr id="86" name="Freeform 11"/>
          <p:cNvSpPr>
            <a:spLocks/>
          </p:cNvSpPr>
          <p:nvPr/>
        </p:nvSpPr>
        <p:spPr bwMode="auto">
          <a:xfrm>
            <a:off x="3175" y="1151075"/>
            <a:ext cx="12195175" cy="474528"/>
          </a:xfrm>
          <a:custGeom>
            <a:avLst/>
            <a:gdLst>
              <a:gd name="connsiteX0" fmla="*/ 2352 w 12207175"/>
              <a:gd name="connsiteY0" fmla="*/ 2380 h 1624807"/>
              <a:gd name="connsiteX1" fmla="*/ 12207175 w 12207175"/>
              <a:gd name="connsiteY1" fmla="*/ 0 h 1624807"/>
              <a:gd name="connsiteX2" fmla="*/ 12207175 w 12207175"/>
              <a:gd name="connsiteY2" fmla="*/ 1150279 h 1624807"/>
              <a:gd name="connsiteX3" fmla="*/ 0 w 12207175"/>
              <a:gd name="connsiteY3" fmla="*/ 1624807 h 1624807"/>
              <a:gd name="connsiteX4" fmla="*/ 93792 w 12207175"/>
              <a:gd name="connsiteY4" fmla="*/ 93820 h 1624807"/>
              <a:gd name="connsiteX0" fmla="*/ 2352 w 12207175"/>
              <a:gd name="connsiteY0" fmla="*/ 2380 h 1624807"/>
              <a:gd name="connsiteX1" fmla="*/ 12207175 w 12207175"/>
              <a:gd name="connsiteY1" fmla="*/ 0 h 1624807"/>
              <a:gd name="connsiteX2" fmla="*/ 12207175 w 12207175"/>
              <a:gd name="connsiteY2" fmla="*/ 1150279 h 1624807"/>
              <a:gd name="connsiteX3" fmla="*/ 0 w 12207175"/>
              <a:gd name="connsiteY3" fmla="*/ 1624807 h 1624807"/>
              <a:gd name="connsiteX0" fmla="*/ 2352 w 12207175"/>
              <a:gd name="connsiteY0" fmla="*/ 4126 h 1626553"/>
              <a:gd name="connsiteX1" fmla="*/ 31685 w 12207175"/>
              <a:gd name="connsiteY1" fmla="*/ 0 h 1626553"/>
              <a:gd name="connsiteX2" fmla="*/ 12207175 w 12207175"/>
              <a:gd name="connsiteY2" fmla="*/ 1746 h 1626553"/>
              <a:gd name="connsiteX3" fmla="*/ 12207175 w 12207175"/>
              <a:gd name="connsiteY3" fmla="*/ 1152025 h 1626553"/>
              <a:gd name="connsiteX4" fmla="*/ 0 w 12207175"/>
              <a:gd name="connsiteY4" fmla="*/ 1626553 h 1626553"/>
              <a:gd name="connsiteX0" fmla="*/ 2352 w 12207175"/>
              <a:gd name="connsiteY0" fmla="*/ 2380 h 1624807"/>
              <a:gd name="connsiteX1" fmla="*/ 12207175 w 12207175"/>
              <a:gd name="connsiteY1" fmla="*/ 0 h 1624807"/>
              <a:gd name="connsiteX2" fmla="*/ 12207175 w 12207175"/>
              <a:gd name="connsiteY2" fmla="*/ 1150279 h 1624807"/>
              <a:gd name="connsiteX3" fmla="*/ 0 w 12207175"/>
              <a:gd name="connsiteY3" fmla="*/ 1624807 h 1624807"/>
              <a:gd name="connsiteX0" fmla="*/ 12207175 w 12207175"/>
              <a:gd name="connsiteY0" fmla="*/ 0 h 1624807"/>
              <a:gd name="connsiteX1" fmla="*/ 12207175 w 12207175"/>
              <a:gd name="connsiteY1" fmla="*/ 1150279 h 1624807"/>
              <a:gd name="connsiteX2" fmla="*/ 0 w 12207175"/>
              <a:gd name="connsiteY2" fmla="*/ 1624807 h 1624807"/>
              <a:gd name="connsiteX0" fmla="*/ 12207175 w 12207175"/>
              <a:gd name="connsiteY0" fmla="*/ 0 h 474528"/>
              <a:gd name="connsiteX1" fmla="*/ 0 w 12207175"/>
              <a:gd name="connsiteY1" fmla="*/ 474528 h 474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207175" h="474528">
                <a:moveTo>
                  <a:pt x="12207175" y="0"/>
                </a:moveTo>
                <a:cubicBezTo>
                  <a:pt x="9794392" y="10920"/>
                  <a:pt x="4154653" y="95989"/>
                  <a:pt x="0" y="474528"/>
                </a:cubicBezTo>
              </a:path>
            </a:pathLst>
          </a:custGeom>
          <a:noFill/>
          <a:ln w="9525">
            <a:solidFill>
              <a:srgbClr val="F9B59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solidFill>
                <a:srgbClr val="5F5656"/>
              </a:solidFill>
              <a:latin typeface="Calibri" panose="020F0502020204030204" pitchFamily="34" charset="0"/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10291931" y="341313"/>
            <a:ext cx="1638132" cy="385201"/>
            <a:chOff x="10291931" y="341313"/>
            <a:chExt cx="1638132" cy="385201"/>
          </a:xfrm>
          <a:solidFill>
            <a:schemeClr val="tx1"/>
          </a:solidFill>
        </p:grpSpPr>
        <p:sp>
          <p:nvSpPr>
            <p:cNvPr id="150" name="Freihandform 149"/>
            <p:cNvSpPr>
              <a:spLocks noChangeAspect="1" noChangeArrowheads="1"/>
            </p:cNvSpPr>
            <p:nvPr/>
          </p:nvSpPr>
          <p:spPr bwMode="auto">
            <a:xfrm>
              <a:off x="11648397" y="403557"/>
              <a:ext cx="281666" cy="277129"/>
            </a:xfrm>
            <a:custGeom>
              <a:avLst/>
              <a:gdLst>
                <a:gd name="connsiteX0" fmla="*/ 224003 w 484088"/>
                <a:gd name="connsiteY0" fmla="*/ 410646 h 476290"/>
                <a:gd name="connsiteX1" fmla="*/ 247187 w 484088"/>
                <a:gd name="connsiteY1" fmla="*/ 420103 h 476290"/>
                <a:gd name="connsiteX2" fmla="*/ 247187 w 484088"/>
                <a:gd name="connsiteY2" fmla="*/ 466833 h 476290"/>
                <a:gd name="connsiteX3" fmla="*/ 200818 w 484088"/>
                <a:gd name="connsiteY3" fmla="*/ 466833 h 476290"/>
                <a:gd name="connsiteX4" fmla="*/ 200818 w 484088"/>
                <a:gd name="connsiteY4" fmla="*/ 420103 h 476290"/>
                <a:gd name="connsiteX5" fmla="*/ 224003 w 484088"/>
                <a:gd name="connsiteY5" fmla="*/ 410646 h 476290"/>
                <a:gd name="connsiteX6" fmla="*/ 121049 w 484088"/>
                <a:gd name="connsiteY6" fmla="*/ 316301 h 476290"/>
                <a:gd name="connsiteX7" fmla="*/ 138696 w 484088"/>
                <a:gd name="connsiteY7" fmla="*/ 323796 h 476290"/>
                <a:gd name="connsiteX8" fmla="*/ 138696 w 484088"/>
                <a:gd name="connsiteY8" fmla="*/ 359325 h 476290"/>
                <a:gd name="connsiteX9" fmla="*/ 103128 w 484088"/>
                <a:gd name="connsiteY9" fmla="*/ 359325 h 476290"/>
                <a:gd name="connsiteX10" fmla="*/ 103128 w 484088"/>
                <a:gd name="connsiteY10" fmla="*/ 323796 h 476290"/>
                <a:gd name="connsiteX11" fmla="*/ 121049 w 484088"/>
                <a:gd name="connsiteY11" fmla="*/ 316301 h 476290"/>
                <a:gd name="connsiteX12" fmla="*/ 325449 w 484088"/>
                <a:gd name="connsiteY12" fmla="*/ 298284 h 476290"/>
                <a:gd name="connsiteX13" fmla="*/ 356024 w 484088"/>
                <a:gd name="connsiteY13" fmla="*/ 310902 h 476290"/>
                <a:gd name="connsiteX14" fmla="*/ 356024 w 484088"/>
                <a:gd name="connsiteY14" fmla="*/ 372214 h 476290"/>
                <a:gd name="connsiteX15" fmla="*/ 294874 w 484088"/>
                <a:gd name="connsiteY15" fmla="*/ 372214 h 476290"/>
                <a:gd name="connsiteX16" fmla="*/ 294874 w 484088"/>
                <a:gd name="connsiteY16" fmla="*/ 310902 h 476290"/>
                <a:gd name="connsiteX17" fmla="*/ 325449 w 484088"/>
                <a:gd name="connsiteY17" fmla="*/ 298284 h 476290"/>
                <a:gd name="connsiteX18" fmla="*/ 19273 w 484088"/>
                <a:gd name="connsiteY18" fmla="*/ 218685 h 476290"/>
                <a:gd name="connsiteX19" fmla="*/ 32986 w 484088"/>
                <a:gd name="connsiteY19" fmla="*/ 224259 h 476290"/>
                <a:gd name="connsiteX20" fmla="*/ 32986 w 484088"/>
                <a:gd name="connsiteY20" fmla="*/ 251759 h 476290"/>
                <a:gd name="connsiteX21" fmla="*/ 5560 w 484088"/>
                <a:gd name="connsiteY21" fmla="*/ 251759 h 476290"/>
                <a:gd name="connsiteX22" fmla="*/ 5560 w 484088"/>
                <a:gd name="connsiteY22" fmla="*/ 224259 h 476290"/>
                <a:gd name="connsiteX23" fmla="*/ 19273 w 484088"/>
                <a:gd name="connsiteY23" fmla="*/ 218685 h 476290"/>
                <a:gd name="connsiteX24" fmla="*/ 224003 w 484088"/>
                <a:gd name="connsiteY24" fmla="*/ 205318 h 476290"/>
                <a:gd name="connsiteX25" fmla="*/ 247187 w 484088"/>
                <a:gd name="connsiteY25" fmla="*/ 215174 h 476290"/>
                <a:gd name="connsiteX26" fmla="*/ 247187 w 484088"/>
                <a:gd name="connsiteY26" fmla="*/ 262482 h 476290"/>
                <a:gd name="connsiteX27" fmla="*/ 200818 w 484088"/>
                <a:gd name="connsiteY27" fmla="*/ 262482 h 476290"/>
                <a:gd name="connsiteX28" fmla="*/ 200818 w 484088"/>
                <a:gd name="connsiteY28" fmla="*/ 215174 h 476290"/>
                <a:gd name="connsiteX29" fmla="*/ 224003 w 484088"/>
                <a:gd name="connsiteY29" fmla="*/ 205318 h 476290"/>
                <a:gd name="connsiteX30" fmla="*/ 428279 w 484088"/>
                <a:gd name="connsiteY30" fmla="*/ 182871 h 476290"/>
                <a:gd name="connsiteX31" fmla="*/ 467652 w 484088"/>
                <a:gd name="connsiteY31" fmla="*/ 199351 h 476290"/>
                <a:gd name="connsiteX32" fmla="*/ 467652 w 484088"/>
                <a:gd name="connsiteY32" fmla="*/ 278307 h 476290"/>
                <a:gd name="connsiteX33" fmla="*/ 388906 w 484088"/>
                <a:gd name="connsiteY33" fmla="*/ 278307 h 476290"/>
                <a:gd name="connsiteX34" fmla="*/ 388906 w 484088"/>
                <a:gd name="connsiteY34" fmla="*/ 199351 h 476290"/>
                <a:gd name="connsiteX35" fmla="*/ 428279 w 484088"/>
                <a:gd name="connsiteY35" fmla="*/ 182871 h 476290"/>
                <a:gd name="connsiteX36" fmla="*/ 121049 w 484088"/>
                <a:gd name="connsiteY36" fmla="*/ 110842 h 476290"/>
                <a:gd name="connsiteX37" fmla="*/ 138696 w 484088"/>
                <a:gd name="connsiteY37" fmla="*/ 118337 h 476290"/>
                <a:gd name="connsiteX38" fmla="*/ 138696 w 484088"/>
                <a:gd name="connsiteY38" fmla="*/ 154236 h 476290"/>
                <a:gd name="connsiteX39" fmla="*/ 103128 w 484088"/>
                <a:gd name="connsiteY39" fmla="*/ 154236 h 476290"/>
                <a:gd name="connsiteX40" fmla="*/ 103128 w 484088"/>
                <a:gd name="connsiteY40" fmla="*/ 118337 h 476290"/>
                <a:gd name="connsiteX41" fmla="*/ 121049 w 484088"/>
                <a:gd name="connsiteY41" fmla="*/ 110842 h 476290"/>
                <a:gd name="connsiteX42" fmla="*/ 325683 w 484088"/>
                <a:gd name="connsiteY42" fmla="*/ 92919 h 476290"/>
                <a:gd name="connsiteX43" fmla="*/ 356092 w 484088"/>
                <a:gd name="connsiteY43" fmla="*/ 105817 h 476290"/>
                <a:gd name="connsiteX44" fmla="*/ 356092 w 484088"/>
                <a:gd name="connsiteY44" fmla="*/ 166756 h 476290"/>
                <a:gd name="connsiteX45" fmla="*/ 295553 w 484088"/>
                <a:gd name="connsiteY45" fmla="*/ 166756 h 476290"/>
                <a:gd name="connsiteX46" fmla="*/ 295553 w 484088"/>
                <a:gd name="connsiteY46" fmla="*/ 105817 h 476290"/>
                <a:gd name="connsiteX47" fmla="*/ 325683 w 484088"/>
                <a:gd name="connsiteY47" fmla="*/ 92919 h 476290"/>
                <a:gd name="connsiteX48" fmla="*/ 224003 w 484088"/>
                <a:gd name="connsiteY48" fmla="*/ 0 h 476290"/>
                <a:gd name="connsiteX49" fmla="*/ 247187 w 484088"/>
                <a:gd name="connsiteY49" fmla="*/ 9715 h 476290"/>
                <a:gd name="connsiteX50" fmla="*/ 247187 w 484088"/>
                <a:gd name="connsiteY50" fmla="*/ 57022 h 476290"/>
                <a:gd name="connsiteX51" fmla="*/ 200818 w 484088"/>
                <a:gd name="connsiteY51" fmla="*/ 57022 h 476290"/>
                <a:gd name="connsiteX52" fmla="*/ 200818 w 484088"/>
                <a:gd name="connsiteY52" fmla="*/ 9715 h 476290"/>
                <a:gd name="connsiteX53" fmla="*/ 224003 w 484088"/>
                <a:gd name="connsiteY53" fmla="*/ 0 h 476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84088" h="476290">
                  <a:moveTo>
                    <a:pt x="224003" y="410646"/>
                  </a:moveTo>
                  <a:cubicBezTo>
                    <a:pt x="232375" y="410646"/>
                    <a:pt x="240747" y="413798"/>
                    <a:pt x="247187" y="420103"/>
                  </a:cubicBezTo>
                  <a:cubicBezTo>
                    <a:pt x="260067" y="433084"/>
                    <a:pt x="260067" y="453853"/>
                    <a:pt x="247187" y="466833"/>
                  </a:cubicBezTo>
                  <a:cubicBezTo>
                    <a:pt x="234307" y="479443"/>
                    <a:pt x="213699" y="479443"/>
                    <a:pt x="200818" y="466833"/>
                  </a:cubicBezTo>
                  <a:cubicBezTo>
                    <a:pt x="188306" y="454224"/>
                    <a:pt x="188306" y="433455"/>
                    <a:pt x="200818" y="420103"/>
                  </a:cubicBezTo>
                  <a:cubicBezTo>
                    <a:pt x="207259" y="413798"/>
                    <a:pt x="215631" y="410646"/>
                    <a:pt x="224003" y="410646"/>
                  </a:cubicBezTo>
                  <a:close/>
                  <a:moveTo>
                    <a:pt x="121049" y="316301"/>
                  </a:moveTo>
                  <a:cubicBezTo>
                    <a:pt x="127512" y="316301"/>
                    <a:pt x="133929" y="318800"/>
                    <a:pt x="138696" y="323796"/>
                  </a:cubicBezTo>
                  <a:cubicBezTo>
                    <a:pt x="148597" y="333788"/>
                    <a:pt x="148597" y="349333"/>
                    <a:pt x="138696" y="359325"/>
                  </a:cubicBezTo>
                  <a:cubicBezTo>
                    <a:pt x="129162" y="369318"/>
                    <a:pt x="113028" y="369318"/>
                    <a:pt x="103128" y="359325"/>
                  </a:cubicBezTo>
                  <a:cubicBezTo>
                    <a:pt x="93227" y="349333"/>
                    <a:pt x="93227" y="333788"/>
                    <a:pt x="103128" y="323796"/>
                  </a:cubicBezTo>
                  <a:cubicBezTo>
                    <a:pt x="108078" y="318800"/>
                    <a:pt x="114587" y="316301"/>
                    <a:pt x="121049" y="316301"/>
                  </a:cubicBezTo>
                  <a:close/>
                  <a:moveTo>
                    <a:pt x="325449" y="298284"/>
                  </a:moveTo>
                  <a:cubicBezTo>
                    <a:pt x="336448" y="298284"/>
                    <a:pt x="347448" y="302490"/>
                    <a:pt x="356024" y="310902"/>
                  </a:cubicBezTo>
                  <a:cubicBezTo>
                    <a:pt x="372803" y="328099"/>
                    <a:pt x="373175" y="355016"/>
                    <a:pt x="356024" y="372214"/>
                  </a:cubicBezTo>
                  <a:cubicBezTo>
                    <a:pt x="339245" y="389037"/>
                    <a:pt x="312026" y="389037"/>
                    <a:pt x="294874" y="372214"/>
                  </a:cubicBezTo>
                  <a:cubicBezTo>
                    <a:pt x="278468" y="355016"/>
                    <a:pt x="278468" y="328099"/>
                    <a:pt x="294874" y="310902"/>
                  </a:cubicBezTo>
                  <a:cubicBezTo>
                    <a:pt x="303450" y="302490"/>
                    <a:pt x="314449" y="298284"/>
                    <a:pt x="325449" y="298284"/>
                  </a:cubicBezTo>
                  <a:close/>
                  <a:moveTo>
                    <a:pt x="19273" y="218685"/>
                  </a:moveTo>
                  <a:cubicBezTo>
                    <a:pt x="24277" y="218685"/>
                    <a:pt x="29280" y="220543"/>
                    <a:pt x="32986" y="224259"/>
                  </a:cubicBezTo>
                  <a:cubicBezTo>
                    <a:pt x="40399" y="231692"/>
                    <a:pt x="40399" y="243955"/>
                    <a:pt x="32986" y="251759"/>
                  </a:cubicBezTo>
                  <a:cubicBezTo>
                    <a:pt x="25574" y="259192"/>
                    <a:pt x="12972" y="259192"/>
                    <a:pt x="5560" y="251759"/>
                  </a:cubicBezTo>
                  <a:cubicBezTo>
                    <a:pt x="-1853" y="243955"/>
                    <a:pt x="-1853" y="231692"/>
                    <a:pt x="5560" y="224259"/>
                  </a:cubicBezTo>
                  <a:cubicBezTo>
                    <a:pt x="9266" y="220543"/>
                    <a:pt x="14270" y="218685"/>
                    <a:pt x="19273" y="218685"/>
                  </a:cubicBezTo>
                  <a:close/>
                  <a:moveTo>
                    <a:pt x="224003" y="205318"/>
                  </a:moveTo>
                  <a:cubicBezTo>
                    <a:pt x="232375" y="205318"/>
                    <a:pt x="240747" y="208604"/>
                    <a:pt x="247187" y="215174"/>
                  </a:cubicBezTo>
                  <a:cubicBezTo>
                    <a:pt x="260067" y="228315"/>
                    <a:pt x="260067" y="249341"/>
                    <a:pt x="247187" y="262482"/>
                  </a:cubicBezTo>
                  <a:cubicBezTo>
                    <a:pt x="234307" y="275624"/>
                    <a:pt x="213699" y="275624"/>
                    <a:pt x="200818" y="262482"/>
                  </a:cubicBezTo>
                  <a:cubicBezTo>
                    <a:pt x="188306" y="249341"/>
                    <a:pt x="188306" y="228315"/>
                    <a:pt x="200818" y="215174"/>
                  </a:cubicBezTo>
                  <a:cubicBezTo>
                    <a:pt x="207259" y="208604"/>
                    <a:pt x="215631" y="205318"/>
                    <a:pt x="224003" y="205318"/>
                  </a:cubicBezTo>
                  <a:close/>
                  <a:moveTo>
                    <a:pt x="428279" y="182871"/>
                  </a:moveTo>
                  <a:cubicBezTo>
                    <a:pt x="442487" y="182871"/>
                    <a:pt x="456694" y="188365"/>
                    <a:pt x="467652" y="199351"/>
                  </a:cubicBezTo>
                  <a:cubicBezTo>
                    <a:pt x="489567" y="221325"/>
                    <a:pt x="489567" y="256334"/>
                    <a:pt x="467652" y="278307"/>
                  </a:cubicBezTo>
                  <a:cubicBezTo>
                    <a:pt x="445737" y="300281"/>
                    <a:pt x="410821" y="300281"/>
                    <a:pt x="388906" y="278307"/>
                  </a:cubicBezTo>
                  <a:cubicBezTo>
                    <a:pt x="366991" y="256706"/>
                    <a:pt x="366991" y="221325"/>
                    <a:pt x="388906" y="199351"/>
                  </a:cubicBezTo>
                  <a:cubicBezTo>
                    <a:pt x="399864" y="188365"/>
                    <a:pt x="414071" y="182871"/>
                    <a:pt x="428279" y="182871"/>
                  </a:cubicBezTo>
                  <a:close/>
                  <a:moveTo>
                    <a:pt x="121049" y="110842"/>
                  </a:moveTo>
                  <a:cubicBezTo>
                    <a:pt x="127512" y="110842"/>
                    <a:pt x="133929" y="113340"/>
                    <a:pt x="138696" y="118337"/>
                  </a:cubicBezTo>
                  <a:cubicBezTo>
                    <a:pt x="148597" y="128329"/>
                    <a:pt x="148597" y="144244"/>
                    <a:pt x="138696" y="154236"/>
                  </a:cubicBezTo>
                  <a:cubicBezTo>
                    <a:pt x="129162" y="163859"/>
                    <a:pt x="113028" y="163859"/>
                    <a:pt x="103128" y="154236"/>
                  </a:cubicBezTo>
                  <a:cubicBezTo>
                    <a:pt x="93227" y="144244"/>
                    <a:pt x="93227" y="128329"/>
                    <a:pt x="103128" y="118337"/>
                  </a:cubicBezTo>
                  <a:cubicBezTo>
                    <a:pt x="108078" y="113340"/>
                    <a:pt x="114587" y="110842"/>
                    <a:pt x="121049" y="110842"/>
                  </a:cubicBezTo>
                  <a:close/>
                  <a:moveTo>
                    <a:pt x="325683" y="92919"/>
                  </a:moveTo>
                  <a:cubicBezTo>
                    <a:pt x="336593" y="92919"/>
                    <a:pt x="347550" y="97219"/>
                    <a:pt x="356092" y="105817"/>
                  </a:cubicBezTo>
                  <a:cubicBezTo>
                    <a:pt x="373177" y="122641"/>
                    <a:pt x="373177" y="149558"/>
                    <a:pt x="356092" y="166756"/>
                  </a:cubicBezTo>
                  <a:cubicBezTo>
                    <a:pt x="339007" y="183579"/>
                    <a:pt x="312638" y="183579"/>
                    <a:pt x="295553" y="166756"/>
                  </a:cubicBezTo>
                  <a:cubicBezTo>
                    <a:pt x="278840" y="149558"/>
                    <a:pt x="278468" y="122641"/>
                    <a:pt x="295553" y="105817"/>
                  </a:cubicBezTo>
                  <a:cubicBezTo>
                    <a:pt x="303910" y="97219"/>
                    <a:pt x="314773" y="92919"/>
                    <a:pt x="325683" y="92919"/>
                  </a:cubicBezTo>
                  <a:close/>
                  <a:moveTo>
                    <a:pt x="224003" y="0"/>
                  </a:moveTo>
                  <a:cubicBezTo>
                    <a:pt x="232375" y="-47"/>
                    <a:pt x="240747" y="3144"/>
                    <a:pt x="247187" y="9715"/>
                  </a:cubicBezTo>
                  <a:cubicBezTo>
                    <a:pt x="260067" y="22480"/>
                    <a:pt x="260067" y="44257"/>
                    <a:pt x="247187" y="57022"/>
                  </a:cubicBezTo>
                  <a:cubicBezTo>
                    <a:pt x="234307" y="70163"/>
                    <a:pt x="213699" y="69788"/>
                    <a:pt x="200818" y="57022"/>
                  </a:cubicBezTo>
                  <a:cubicBezTo>
                    <a:pt x="188306" y="43881"/>
                    <a:pt x="188306" y="22856"/>
                    <a:pt x="200818" y="9715"/>
                  </a:cubicBezTo>
                  <a:cubicBezTo>
                    <a:pt x="207259" y="3332"/>
                    <a:pt x="215631" y="47"/>
                    <a:pt x="224003" y="0"/>
                  </a:cubicBezTo>
                  <a:close/>
                </a:path>
              </a:pathLst>
            </a:custGeom>
            <a:grpFill/>
            <a:ln w="9525" cap="flat">
              <a:noFill/>
              <a:bevel/>
              <a:headEnd/>
              <a:tailEnd/>
            </a:ln>
            <a:effectLst/>
          </p:spPr>
          <p:txBody>
            <a:bodyPr wrap="square" anchor="ctr">
              <a:prstTxWarp prst="textNoShape">
                <a:avLst/>
              </a:prstTxWarp>
              <a:noAutofit/>
            </a:bodyPr>
            <a:lstStyle/>
            <a:p>
              <a:pPr marL="0" marR="0" lvl="0" indent="0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"/>
                  <a:cs typeface=""/>
                </a:rPr>
                <a:t> </a:t>
              </a:r>
            </a:p>
          </p:txBody>
        </p:sp>
        <p:sp>
          <p:nvSpPr>
            <p:cNvPr id="151" name="Freihandform 150"/>
            <p:cNvSpPr>
              <a:spLocks noChangeAspect="1" noChangeArrowheads="1"/>
            </p:cNvSpPr>
            <p:nvPr/>
          </p:nvSpPr>
          <p:spPr bwMode="auto">
            <a:xfrm>
              <a:off x="10695399" y="341313"/>
              <a:ext cx="929765" cy="148020"/>
            </a:xfrm>
            <a:custGeom>
              <a:avLst/>
              <a:gdLst>
                <a:gd name="connsiteX0" fmla="*/ 1157347 w 1597949"/>
                <a:gd name="connsiteY0" fmla="*/ 4931 h 254396"/>
                <a:gd name="connsiteX1" fmla="*/ 1235941 w 1597949"/>
                <a:gd name="connsiteY1" fmla="*/ 4931 h 254396"/>
                <a:gd name="connsiteX2" fmla="*/ 1319354 w 1597949"/>
                <a:gd name="connsiteY2" fmla="*/ 168700 h 254396"/>
                <a:gd name="connsiteX3" fmla="*/ 1319354 w 1597949"/>
                <a:gd name="connsiteY3" fmla="*/ 4931 h 254396"/>
                <a:gd name="connsiteX4" fmla="*/ 1366807 w 1597949"/>
                <a:gd name="connsiteY4" fmla="*/ 4931 h 254396"/>
                <a:gd name="connsiteX5" fmla="*/ 1366807 w 1597949"/>
                <a:gd name="connsiteY5" fmla="*/ 249463 h 254396"/>
                <a:gd name="connsiteX6" fmla="*/ 1291179 w 1597949"/>
                <a:gd name="connsiteY6" fmla="*/ 249463 h 254396"/>
                <a:gd name="connsiteX7" fmla="*/ 1205170 w 1597949"/>
                <a:gd name="connsiteY7" fmla="*/ 83451 h 254396"/>
                <a:gd name="connsiteX8" fmla="*/ 1205170 w 1597949"/>
                <a:gd name="connsiteY8" fmla="*/ 249463 h 254396"/>
                <a:gd name="connsiteX9" fmla="*/ 1157347 w 1597949"/>
                <a:gd name="connsiteY9" fmla="*/ 249463 h 254396"/>
                <a:gd name="connsiteX10" fmla="*/ 936042 w 1597949"/>
                <a:gd name="connsiteY10" fmla="*/ 4931 h 254396"/>
                <a:gd name="connsiteX11" fmla="*/ 1110117 w 1597949"/>
                <a:gd name="connsiteY11" fmla="*/ 4931 h 254396"/>
                <a:gd name="connsiteX12" fmla="*/ 1110117 w 1597949"/>
                <a:gd name="connsiteY12" fmla="*/ 49052 h 254396"/>
                <a:gd name="connsiteX13" fmla="*/ 1001367 w 1597949"/>
                <a:gd name="connsiteY13" fmla="*/ 49052 h 254396"/>
                <a:gd name="connsiteX14" fmla="*/ 1001367 w 1597949"/>
                <a:gd name="connsiteY14" fmla="*/ 104015 h 254396"/>
                <a:gd name="connsiteX15" fmla="*/ 1096013 w 1597949"/>
                <a:gd name="connsiteY15" fmla="*/ 104015 h 254396"/>
                <a:gd name="connsiteX16" fmla="*/ 1096013 w 1597949"/>
                <a:gd name="connsiteY16" fmla="*/ 144771 h 254396"/>
                <a:gd name="connsiteX17" fmla="*/ 1001367 w 1597949"/>
                <a:gd name="connsiteY17" fmla="*/ 144771 h 254396"/>
                <a:gd name="connsiteX18" fmla="*/ 1001367 w 1597949"/>
                <a:gd name="connsiteY18" fmla="*/ 202725 h 254396"/>
                <a:gd name="connsiteX19" fmla="*/ 1112716 w 1597949"/>
                <a:gd name="connsiteY19" fmla="*/ 202725 h 254396"/>
                <a:gd name="connsiteX20" fmla="*/ 1112716 w 1597949"/>
                <a:gd name="connsiteY20" fmla="*/ 249463 h 254396"/>
                <a:gd name="connsiteX21" fmla="*/ 936042 w 1597949"/>
                <a:gd name="connsiteY21" fmla="*/ 249463 h 254396"/>
                <a:gd name="connsiteX22" fmla="*/ 577034 w 1597949"/>
                <a:gd name="connsiteY22" fmla="*/ 4931 h 254396"/>
                <a:gd name="connsiteX23" fmla="*/ 665266 w 1597949"/>
                <a:gd name="connsiteY23" fmla="*/ 4931 h 254396"/>
                <a:gd name="connsiteX24" fmla="*/ 725949 w 1597949"/>
                <a:gd name="connsiteY24" fmla="*/ 160843 h 254396"/>
                <a:gd name="connsiteX25" fmla="*/ 789611 w 1597949"/>
                <a:gd name="connsiteY25" fmla="*/ 4931 h 254396"/>
                <a:gd name="connsiteX26" fmla="*/ 873375 w 1597949"/>
                <a:gd name="connsiteY26" fmla="*/ 4931 h 254396"/>
                <a:gd name="connsiteX27" fmla="*/ 873375 w 1597949"/>
                <a:gd name="connsiteY27" fmla="*/ 248870 h 254396"/>
                <a:gd name="connsiteX28" fmla="*/ 808225 w 1597949"/>
                <a:gd name="connsiteY28" fmla="*/ 248870 h 254396"/>
                <a:gd name="connsiteX29" fmla="*/ 808225 w 1597949"/>
                <a:gd name="connsiteY29" fmla="*/ 75800 h 254396"/>
                <a:gd name="connsiteX30" fmla="*/ 737118 w 1597949"/>
                <a:gd name="connsiteY30" fmla="*/ 251108 h 254396"/>
                <a:gd name="connsiteX31" fmla="*/ 694677 w 1597949"/>
                <a:gd name="connsiteY31" fmla="*/ 251108 h 254396"/>
                <a:gd name="connsiteX32" fmla="*/ 625059 w 1597949"/>
                <a:gd name="connsiteY32" fmla="*/ 75800 h 254396"/>
                <a:gd name="connsiteX33" fmla="*/ 625059 w 1597949"/>
                <a:gd name="connsiteY33" fmla="*/ 248870 h 254396"/>
                <a:gd name="connsiteX34" fmla="*/ 577034 w 1597949"/>
                <a:gd name="connsiteY34" fmla="*/ 248870 h 254396"/>
                <a:gd name="connsiteX35" fmla="*/ 355729 w 1597949"/>
                <a:gd name="connsiteY35" fmla="*/ 4931 h 254396"/>
                <a:gd name="connsiteX36" fmla="*/ 530170 w 1597949"/>
                <a:gd name="connsiteY36" fmla="*/ 4931 h 254396"/>
                <a:gd name="connsiteX37" fmla="*/ 530170 w 1597949"/>
                <a:gd name="connsiteY37" fmla="*/ 49052 h 254396"/>
                <a:gd name="connsiteX38" fmla="*/ 420819 w 1597949"/>
                <a:gd name="connsiteY38" fmla="*/ 49052 h 254396"/>
                <a:gd name="connsiteX39" fmla="*/ 420819 w 1597949"/>
                <a:gd name="connsiteY39" fmla="*/ 104015 h 254396"/>
                <a:gd name="connsiteX40" fmla="*/ 516036 w 1597949"/>
                <a:gd name="connsiteY40" fmla="*/ 104015 h 254396"/>
                <a:gd name="connsiteX41" fmla="*/ 516036 w 1597949"/>
                <a:gd name="connsiteY41" fmla="*/ 144771 h 254396"/>
                <a:gd name="connsiteX42" fmla="*/ 420819 w 1597949"/>
                <a:gd name="connsiteY42" fmla="*/ 144771 h 254396"/>
                <a:gd name="connsiteX43" fmla="*/ 420819 w 1597949"/>
                <a:gd name="connsiteY43" fmla="*/ 202725 h 254396"/>
                <a:gd name="connsiteX44" fmla="*/ 532402 w 1597949"/>
                <a:gd name="connsiteY44" fmla="*/ 202725 h 254396"/>
                <a:gd name="connsiteX45" fmla="*/ 532402 w 1597949"/>
                <a:gd name="connsiteY45" fmla="*/ 249463 h 254396"/>
                <a:gd name="connsiteX46" fmla="*/ 355729 w 1597949"/>
                <a:gd name="connsiteY46" fmla="*/ 249463 h 254396"/>
                <a:gd name="connsiteX47" fmla="*/ 226224 w 1597949"/>
                <a:gd name="connsiteY47" fmla="*/ 4931 h 254396"/>
                <a:gd name="connsiteX48" fmla="*/ 293068 w 1597949"/>
                <a:gd name="connsiteY48" fmla="*/ 4931 h 254396"/>
                <a:gd name="connsiteX49" fmla="*/ 293068 w 1597949"/>
                <a:gd name="connsiteY49" fmla="*/ 249464 h 254396"/>
                <a:gd name="connsiteX50" fmla="*/ 259646 w 1597949"/>
                <a:gd name="connsiteY50" fmla="*/ 249464 h 254396"/>
                <a:gd name="connsiteX51" fmla="*/ 226224 w 1597949"/>
                <a:gd name="connsiteY51" fmla="*/ 249464 h 254396"/>
                <a:gd name="connsiteX52" fmla="*/ 1509330 w 1597949"/>
                <a:gd name="connsiteY52" fmla="*/ 0 h 254396"/>
                <a:gd name="connsiteX53" fmla="*/ 1573106 w 1597949"/>
                <a:gd name="connsiteY53" fmla="*/ 7806 h 254396"/>
                <a:gd name="connsiteX54" fmla="*/ 1579039 w 1597949"/>
                <a:gd name="connsiteY54" fmla="*/ 8921 h 254396"/>
                <a:gd name="connsiteX55" fmla="*/ 1579039 w 1597949"/>
                <a:gd name="connsiteY55" fmla="*/ 55011 h 254396"/>
                <a:gd name="connsiteX56" fmla="*/ 1516004 w 1597949"/>
                <a:gd name="connsiteY56" fmla="*/ 41630 h 254396"/>
                <a:gd name="connsiteX57" fmla="*/ 1475217 w 1597949"/>
                <a:gd name="connsiteY57" fmla="*/ 63932 h 254396"/>
                <a:gd name="connsiteX58" fmla="*/ 1483745 w 1597949"/>
                <a:gd name="connsiteY58" fmla="*/ 78056 h 254396"/>
                <a:gd name="connsiteX59" fmla="*/ 1521195 w 1597949"/>
                <a:gd name="connsiteY59" fmla="*/ 96641 h 254396"/>
                <a:gd name="connsiteX60" fmla="*/ 1580522 w 1597949"/>
                <a:gd name="connsiteY60" fmla="*/ 130837 h 254396"/>
                <a:gd name="connsiteX61" fmla="*/ 1597949 w 1597949"/>
                <a:gd name="connsiteY61" fmla="*/ 175812 h 254396"/>
                <a:gd name="connsiteX62" fmla="*/ 1563466 w 1597949"/>
                <a:gd name="connsiteY62" fmla="*/ 236027 h 254396"/>
                <a:gd name="connsiteX63" fmla="*/ 1491532 w 1597949"/>
                <a:gd name="connsiteY63" fmla="*/ 252753 h 254396"/>
                <a:gd name="connsiteX64" fmla="*/ 1415890 w 1597949"/>
                <a:gd name="connsiteY64" fmla="*/ 243833 h 254396"/>
                <a:gd name="connsiteX65" fmla="*/ 1415890 w 1597949"/>
                <a:gd name="connsiteY65" fmla="*/ 195884 h 254396"/>
                <a:gd name="connsiteX66" fmla="*/ 1488565 w 1597949"/>
                <a:gd name="connsiteY66" fmla="*/ 208893 h 254396"/>
                <a:gd name="connsiteX67" fmla="*/ 1532319 w 1597949"/>
                <a:gd name="connsiteY67" fmla="*/ 186220 h 254396"/>
                <a:gd name="connsiteX68" fmla="*/ 1526386 w 1597949"/>
                <a:gd name="connsiteY68" fmla="*/ 171724 h 254396"/>
                <a:gd name="connsiteX69" fmla="*/ 1493015 w 1597949"/>
                <a:gd name="connsiteY69" fmla="*/ 154254 h 254396"/>
                <a:gd name="connsiteX70" fmla="*/ 1430351 w 1597949"/>
                <a:gd name="connsiteY70" fmla="*/ 120430 h 254396"/>
                <a:gd name="connsiteX71" fmla="*/ 1411440 w 1597949"/>
                <a:gd name="connsiteY71" fmla="*/ 73596 h 254396"/>
                <a:gd name="connsiteX72" fmla="*/ 1438879 w 1597949"/>
                <a:gd name="connsiteY72" fmla="*/ 18957 h 254396"/>
                <a:gd name="connsiteX73" fmla="*/ 1509330 w 1597949"/>
                <a:gd name="connsiteY73" fmla="*/ 0 h 254396"/>
                <a:gd name="connsiteX74" fmla="*/ 97518 w 1597949"/>
                <a:gd name="connsiteY74" fmla="*/ 0 h 254396"/>
                <a:gd name="connsiteX75" fmla="*/ 166857 w 1597949"/>
                <a:gd name="connsiteY75" fmla="*/ 8966 h 254396"/>
                <a:gd name="connsiteX76" fmla="*/ 166857 w 1597949"/>
                <a:gd name="connsiteY76" fmla="*/ 55661 h 254396"/>
                <a:gd name="connsiteX77" fmla="*/ 104564 w 1597949"/>
                <a:gd name="connsiteY77" fmla="*/ 42213 h 254396"/>
                <a:gd name="connsiteX78" fmla="*/ 64147 w 1597949"/>
                <a:gd name="connsiteY78" fmla="*/ 64626 h 254396"/>
                <a:gd name="connsiteX79" fmla="*/ 72675 w 1597949"/>
                <a:gd name="connsiteY79" fmla="*/ 78448 h 254396"/>
                <a:gd name="connsiteX80" fmla="*/ 109755 w 1597949"/>
                <a:gd name="connsiteY80" fmla="*/ 97126 h 254396"/>
                <a:gd name="connsiteX81" fmla="*/ 169082 w 1597949"/>
                <a:gd name="connsiteY81" fmla="*/ 131494 h 254396"/>
                <a:gd name="connsiteX82" fmla="*/ 186509 w 1597949"/>
                <a:gd name="connsiteY82" fmla="*/ 176695 h 254396"/>
                <a:gd name="connsiteX83" fmla="*/ 152025 w 1597949"/>
                <a:gd name="connsiteY83" fmla="*/ 237212 h 254396"/>
                <a:gd name="connsiteX84" fmla="*/ 80462 w 1597949"/>
                <a:gd name="connsiteY84" fmla="*/ 254396 h 254396"/>
                <a:gd name="connsiteX85" fmla="*/ 4820 w 1597949"/>
                <a:gd name="connsiteY85" fmla="*/ 244683 h 254396"/>
                <a:gd name="connsiteX86" fmla="*/ 4820 w 1597949"/>
                <a:gd name="connsiteY86" fmla="*/ 196494 h 254396"/>
                <a:gd name="connsiteX87" fmla="*/ 77496 w 1597949"/>
                <a:gd name="connsiteY87" fmla="*/ 209568 h 254396"/>
                <a:gd name="connsiteX88" fmla="*/ 120878 w 1597949"/>
                <a:gd name="connsiteY88" fmla="*/ 186781 h 254396"/>
                <a:gd name="connsiteX89" fmla="*/ 114204 w 1597949"/>
                <a:gd name="connsiteY89" fmla="*/ 172212 h 254396"/>
                <a:gd name="connsiteX90" fmla="*/ 81574 w 1597949"/>
                <a:gd name="connsiteY90" fmla="*/ 154655 h 254396"/>
                <a:gd name="connsiteX91" fmla="*/ 18910 w 1597949"/>
                <a:gd name="connsiteY91" fmla="*/ 120661 h 254396"/>
                <a:gd name="connsiteX92" fmla="*/ 0 w 1597949"/>
                <a:gd name="connsiteY92" fmla="*/ 73965 h 254396"/>
                <a:gd name="connsiteX93" fmla="*/ 27438 w 1597949"/>
                <a:gd name="connsiteY93" fmla="*/ 19052 h 254396"/>
                <a:gd name="connsiteX94" fmla="*/ 97518 w 1597949"/>
                <a:gd name="connsiteY94" fmla="*/ 0 h 254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597949" h="254396">
                  <a:moveTo>
                    <a:pt x="1157347" y="4931"/>
                  </a:moveTo>
                  <a:lnTo>
                    <a:pt x="1235941" y="4931"/>
                  </a:lnTo>
                  <a:lnTo>
                    <a:pt x="1319354" y="168700"/>
                  </a:lnTo>
                  <a:lnTo>
                    <a:pt x="1319354" y="4931"/>
                  </a:lnTo>
                  <a:lnTo>
                    <a:pt x="1366807" y="4931"/>
                  </a:lnTo>
                  <a:lnTo>
                    <a:pt x="1366807" y="249463"/>
                  </a:lnTo>
                  <a:lnTo>
                    <a:pt x="1291179" y="249463"/>
                  </a:lnTo>
                  <a:lnTo>
                    <a:pt x="1205170" y="83451"/>
                  </a:lnTo>
                  <a:lnTo>
                    <a:pt x="1205170" y="249463"/>
                  </a:lnTo>
                  <a:lnTo>
                    <a:pt x="1157347" y="249463"/>
                  </a:lnTo>
                  <a:close/>
                  <a:moveTo>
                    <a:pt x="936042" y="4931"/>
                  </a:moveTo>
                  <a:lnTo>
                    <a:pt x="1110117" y="4931"/>
                  </a:lnTo>
                  <a:lnTo>
                    <a:pt x="1110117" y="49052"/>
                  </a:lnTo>
                  <a:lnTo>
                    <a:pt x="1001367" y="49052"/>
                  </a:lnTo>
                  <a:lnTo>
                    <a:pt x="1001367" y="104015"/>
                  </a:lnTo>
                  <a:lnTo>
                    <a:pt x="1096013" y="104015"/>
                  </a:lnTo>
                  <a:lnTo>
                    <a:pt x="1096013" y="144771"/>
                  </a:lnTo>
                  <a:lnTo>
                    <a:pt x="1001367" y="144771"/>
                  </a:lnTo>
                  <a:lnTo>
                    <a:pt x="1001367" y="202725"/>
                  </a:lnTo>
                  <a:lnTo>
                    <a:pt x="1112716" y="202725"/>
                  </a:lnTo>
                  <a:lnTo>
                    <a:pt x="1112716" y="249463"/>
                  </a:lnTo>
                  <a:lnTo>
                    <a:pt x="936042" y="249463"/>
                  </a:lnTo>
                  <a:close/>
                  <a:moveTo>
                    <a:pt x="577034" y="4931"/>
                  </a:moveTo>
                  <a:lnTo>
                    <a:pt x="665266" y="4931"/>
                  </a:lnTo>
                  <a:lnTo>
                    <a:pt x="725949" y="160843"/>
                  </a:lnTo>
                  <a:lnTo>
                    <a:pt x="789611" y="4931"/>
                  </a:lnTo>
                  <a:lnTo>
                    <a:pt x="873375" y="4931"/>
                  </a:lnTo>
                  <a:lnTo>
                    <a:pt x="873375" y="248870"/>
                  </a:lnTo>
                  <a:lnTo>
                    <a:pt x="808225" y="248870"/>
                  </a:lnTo>
                  <a:lnTo>
                    <a:pt x="808225" y="75800"/>
                  </a:lnTo>
                  <a:lnTo>
                    <a:pt x="737118" y="251108"/>
                  </a:lnTo>
                  <a:lnTo>
                    <a:pt x="694677" y="251108"/>
                  </a:lnTo>
                  <a:lnTo>
                    <a:pt x="625059" y="75800"/>
                  </a:lnTo>
                  <a:lnTo>
                    <a:pt x="625059" y="248870"/>
                  </a:lnTo>
                  <a:lnTo>
                    <a:pt x="577034" y="248870"/>
                  </a:lnTo>
                  <a:close/>
                  <a:moveTo>
                    <a:pt x="355729" y="4931"/>
                  </a:moveTo>
                  <a:lnTo>
                    <a:pt x="530170" y="4931"/>
                  </a:lnTo>
                  <a:lnTo>
                    <a:pt x="530170" y="49052"/>
                  </a:lnTo>
                  <a:lnTo>
                    <a:pt x="420819" y="49052"/>
                  </a:lnTo>
                  <a:lnTo>
                    <a:pt x="420819" y="104015"/>
                  </a:lnTo>
                  <a:lnTo>
                    <a:pt x="516036" y="104015"/>
                  </a:lnTo>
                  <a:lnTo>
                    <a:pt x="516036" y="144771"/>
                  </a:lnTo>
                  <a:lnTo>
                    <a:pt x="420819" y="144771"/>
                  </a:lnTo>
                  <a:lnTo>
                    <a:pt x="420819" y="202725"/>
                  </a:lnTo>
                  <a:lnTo>
                    <a:pt x="532402" y="202725"/>
                  </a:lnTo>
                  <a:lnTo>
                    <a:pt x="532402" y="249463"/>
                  </a:lnTo>
                  <a:lnTo>
                    <a:pt x="355729" y="249463"/>
                  </a:lnTo>
                  <a:close/>
                  <a:moveTo>
                    <a:pt x="226224" y="4931"/>
                  </a:moveTo>
                  <a:lnTo>
                    <a:pt x="293068" y="4931"/>
                  </a:lnTo>
                  <a:lnTo>
                    <a:pt x="293068" y="249464"/>
                  </a:lnTo>
                  <a:lnTo>
                    <a:pt x="259646" y="249464"/>
                  </a:lnTo>
                  <a:lnTo>
                    <a:pt x="226224" y="249464"/>
                  </a:lnTo>
                  <a:close/>
                  <a:moveTo>
                    <a:pt x="1509330" y="0"/>
                  </a:moveTo>
                  <a:cubicBezTo>
                    <a:pt x="1525645" y="0"/>
                    <a:pt x="1546780" y="2230"/>
                    <a:pt x="1573106" y="7806"/>
                  </a:cubicBezTo>
                  <a:lnTo>
                    <a:pt x="1579039" y="8921"/>
                  </a:lnTo>
                  <a:lnTo>
                    <a:pt x="1579039" y="55011"/>
                  </a:lnTo>
                  <a:cubicBezTo>
                    <a:pt x="1556421" y="46090"/>
                    <a:pt x="1535285" y="41630"/>
                    <a:pt x="1516004" y="41630"/>
                  </a:cubicBezTo>
                  <a:cubicBezTo>
                    <a:pt x="1488565" y="41630"/>
                    <a:pt x="1475217" y="49064"/>
                    <a:pt x="1475217" y="63932"/>
                  </a:cubicBezTo>
                  <a:cubicBezTo>
                    <a:pt x="1475217" y="69507"/>
                    <a:pt x="1477812" y="73968"/>
                    <a:pt x="1483745" y="78056"/>
                  </a:cubicBezTo>
                  <a:cubicBezTo>
                    <a:pt x="1488195" y="81030"/>
                    <a:pt x="1500431" y="86977"/>
                    <a:pt x="1521195" y="96641"/>
                  </a:cubicBezTo>
                  <a:cubicBezTo>
                    <a:pt x="1550488" y="109279"/>
                    <a:pt x="1570511" y="120801"/>
                    <a:pt x="1580522" y="130837"/>
                  </a:cubicBezTo>
                  <a:cubicBezTo>
                    <a:pt x="1592017" y="142360"/>
                    <a:pt x="1597949" y="157228"/>
                    <a:pt x="1597949" y="175812"/>
                  </a:cubicBezTo>
                  <a:cubicBezTo>
                    <a:pt x="1597949" y="202203"/>
                    <a:pt x="1586455" y="221903"/>
                    <a:pt x="1563466" y="236027"/>
                  </a:cubicBezTo>
                  <a:cubicBezTo>
                    <a:pt x="1544555" y="247178"/>
                    <a:pt x="1520824" y="252753"/>
                    <a:pt x="1491532" y="252753"/>
                  </a:cubicBezTo>
                  <a:cubicBezTo>
                    <a:pt x="1466689" y="252753"/>
                    <a:pt x="1441475" y="249780"/>
                    <a:pt x="1415890" y="243833"/>
                  </a:cubicBezTo>
                  <a:lnTo>
                    <a:pt x="1415890" y="195884"/>
                  </a:lnTo>
                  <a:cubicBezTo>
                    <a:pt x="1442958" y="204433"/>
                    <a:pt x="1467059" y="208893"/>
                    <a:pt x="1488565" y="208893"/>
                  </a:cubicBezTo>
                  <a:cubicBezTo>
                    <a:pt x="1517487" y="208893"/>
                    <a:pt x="1532319" y="201459"/>
                    <a:pt x="1532319" y="186220"/>
                  </a:cubicBezTo>
                  <a:cubicBezTo>
                    <a:pt x="1532319" y="180273"/>
                    <a:pt x="1530465" y="175812"/>
                    <a:pt x="1526386" y="171724"/>
                  </a:cubicBezTo>
                  <a:cubicBezTo>
                    <a:pt x="1521937" y="167635"/>
                    <a:pt x="1510813" y="161688"/>
                    <a:pt x="1493015" y="154254"/>
                  </a:cubicBezTo>
                  <a:cubicBezTo>
                    <a:pt x="1461127" y="141245"/>
                    <a:pt x="1440362" y="129722"/>
                    <a:pt x="1430351" y="120430"/>
                  </a:cubicBezTo>
                  <a:cubicBezTo>
                    <a:pt x="1418115" y="108535"/>
                    <a:pt x="1411440" y="92552"/>
                    <a:pt x="1411440" y="73596"/>
                  </a:cubicBezTo>
                  <a:cubicBezTo>
                    <a:pt x="1411440" y="49807"/>
                    <a:pt x="1420339" y="31223"/>
                    <a:pt x="1438879" y="18957"/>
                  </a:cubicBezTo>
                  <a:cubicBezTo>
                    <a:pt x="1456677" y="6319"/>
                    <a:pt x="1480779" y="0"/>
                    <a:pt x="1509330" y="0"/>
                  </a:cubicBezTo>
                  <a:close/>
                  <a:moveTo>
                    <a:pt x="97518" y="0"/>
                  </a:moveTo>
                  <a:cubicBezTo>
                    <a:pt x="113463" y="0"/>
                    <a:pt x="136823" y="2989"/>
                    <a:pt x="166857" y="8966"/>
                  </a:cubicBezTo>
                  <a:lnTo>
                    <a:pt x="166857" y="55661"/>
                  </a:lnTo>
                  <a:cubicBezTo>
                    <a:pt x="144609" y="46695"/>
                    <a:pt x="123845" y="42213"/>
                    <a:pt x="104564" y="42213"/>
                  </a:cubicBezTo>
                  <a:cubicBezTo>
                    <a:pt x="77496" y="42213"/>
                    <a:pt x="64147" y="49684"/>
                    <a:pt x="64147" y="64626"/>
                  </a:cubicBezTo>
                  <a:cubicBezTo>
                    <a:pt x="64147" y="70230"/>
                    <a:pt x="67113" y="74712"/>
                    <a:pt x="72675" y="78448"/>
                  </a:cubicBezTo>
                  <a:cubicBezTo>
                    <a:pt x="77125" y="81437"/>
                    <a:pt x="89732" y="87414"/>
                    <a:pt x="109755" y="97126"/>
                  </a:cubicBezTo>
                  <a:cubicBezTo>
                    <a:pt x="139789" y="110201"/>
                    <a:pt x="159441" y="121408"/>
                    <a:pt x="169082" y="131494"/>
                  </a:cubicBezTo>
                  <a:cubicBezTo>
                    <a:pt x="180947" y="142701"/>
                    <a:pt x="186509" y="158017"/>
                    <a:pt x="186509" y="176695"/>
                  </a:cubicBezTo>
                  <a:cubicBezTo>
                    <a:pt x="186509" y="203218"/>
                    <a:pt x="175014" y="223016"/>
                    <a:pt x="152025" y="237212"/>
                  </a:cubicBezTo>
                  <a:cubicBezTo>
                    <a:pt x="133856" y="248792"/>
                    <a:pt x="109384" y="254396"/>
                    <a:pt x="80462" y="254396"/>
                  </a:cubicBezTo>
                  <a:cubicBezTo>
                    <a:pt x="55619" y="253648"/>
                    <a:pt x="30405" y="250660"/>
                    <a:pt x="4820" y="244683"/>
                  </a:cubicBezTo>
                  <a:lnTo>
                    <a:pt x="4820" y="196494"/>
                  </a:lnTo>
                  <a:cubicBezTo>
                    <a:pt x="32259" y="205085"/>
                    <a:pt x="56731" y="209568"/>
                    <a:pt x="77496" y="209568"/>
                  </a:cubicBezTo>
                  <a:cubicBezTo>
                    <a:pt x="106047" y="209568"/>
                    <a:pt x="120878" y="202097"/>
                    <a:pt x="120878" y="186781"/>
                  </a:cubicBezTo>
                  <a:cubicBezTo>
                    <a:pt x="120878" y="180804"/>
                    <a:pt x="119025" y="176321"/>
                    <a:pt x="114204" y="172212"/>
                  </a:cubicBezTo>
                  <a:cubicBezTo>
                    <a:pt x="109755" y="168103"/>
                    <a:pt x="99002" y="162126"/>
                    <a:pt x="81574" y="154655"/>
                  </a:cubicBezTo>
                  <a:cubicBezTo>
                    <a:pt x="49686" y="141580"/>
                    <a:pt x="28922" y="130000"/>
                    <a:pt x="18910" y="120661"/>
                  </a:cubicBezTo>
                  <a:cubicBezTo>
                    <a:pt x="6303" y="107959"/>
                    <a:pt x="0" y="92643"/>
                    <a:pt x="0" y="73965"/>
                  </a:cubicBezTo>
                  <a:cubicBezTo>
                    <a:pt x="0" y="50057"/>
                    <a:pt x="8899" y="31379"/>
                    <a:pt x="27438" y="19052"/>
                  </a:cubicBezTo>
                  <a:cubicBezTo>
                    <a:pt x="45237" y="6351"/>
                    <a:pt x="68967" y="0"/>
                    <a:pt x="97518" y="0"/>
                  </a:cubicBezTo>
                  <a:close/>
                </a:path>
              </a:pathLst>
            </a:custGeom>
            <a:grpFill/>
            <a:ln w="9525" cap="flat">
              <a:noFill/>
              <a:bevel/>
              <a:headEnd/>
              <a:tailEnd/>
            </a:ln>
            <a:effectLst/>
          </p:spPr>
          <p:txBody>
            <a:bodyPr wrap="square" anchor="ctr">
              <a:prstTxWarp prst="textNoShape">
                <a:avLst/>
              </a:prstTxWarp>
              <a:noAutofit/>
            </a:bodyPr>
            <a:lstStyle/>
            <a:p>
              <a:pPr marL="0" marR="0" lvl="0" indent="0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"/>
                <a:cs typeface=""/>
              </a:endParaRPr>
            </a:p>
          </p:txBody>
        </p:sp>
        <p:sp>
          <p:nvSpPr>
            <p:cNvPr id="152" name="Freihandform 151"/>
            <p:cNvSpPr>
              <a:spLocks noChangeAspect="1" noChangeArrowheads="1"/>
            </p:cNvSpPr>
            <p:nvPr/>
          </p:nvSpPr>
          <p:spPr bwMode="auto">
            <a:xfrm>
              <a:off x="10291931" y="542152"/>
              <a:ext cx="1333713" cy="184362"/>
            </a:xfrm>
            <a:custGeom>
              <a:avLst/>
              <a:gdLst>
                <a:gd name="connsiteX0" fmla="*/ 561040 w 2292197"/>
                <a:gd name="connsiteY0" fmla="*/ 133276 h 316856"/>
                <a:gd name="connsiteX1" fmla="*/ 514756 w 2292197"/>
                <a:gd name="connsiteY1" fmla="*/ 208959 h 316856"/>
                <a:gd name="connsiteX2" fmla="*/ 553264 w 2292197"/>
                <a:gd name="connsiteY2" fmla="*/ 272711 h 316856"/>
                <a:gd name="connsiteX3" fmla="*/ 587329 w 2292197"/>
                <a:gd name="connsiteY3" fmla="*/ 241394 h 316856"/>
                <a:gd name="connsiteX4" fmla="*/ 587329 w 2292197"/>
                <a:gd name="connsiteY4" fmla="*/ 137750 h 316856"/>
                <a:gd name="connsiteX5" fmla="*/ 561040 w 2292197"/>
                <a:gd name="connsiteY5" fmla="*/ 133276 h 316856"/>
                <a:gd name="connsiteX6" fmla="*/ 1864005 w 2292197"/>
                <a:gd name="connsiteY6" fmla="*/ 131508 h 316856"/>
                <a:gd name="connsiteX7" fmla="*/ 1819277 w 2292197"/>
                <a:gd name="connsiteY7" fmla="*/ 188681 h 316856"/>
                <a:gd name="connsiteX8" fmla="*/ 1885623 w 2292197"/>
                <a:gd name="connsiteY8" fmla="*/ 152434 h 316856"/>
                <a:gd name="connsiteX9" fmla="*/ 1864005 w 2292197"/>
                <a:gd name="connsiteY9" fmla="*/ 131508 h 316856"/>
                <a:gd name="connsiteX10" fmla="*/ 1660732 w 2292197"/>
                <a:gd name="connsiteY10" fmla="*/ 131508 h 316856"/>
                <a:gd name="connsiteX11" fmla="*/ 1615632 w 2292197"/>
                <a:gd name="connsiteY11" fmla="*/ 188681 h 316856"/>
                <a:gd name="connsiteX12" fmla="*/ 1681977 w 2292197"/>
                <a:gd name="connsiteY12" fmla="*/ 152434 h 316856"/>
                <a:gd name="connsiteX13" fmla="*/ 1660732 w 2292197"/>
                <a:gd name="connsiteY13" fmla="*/ 131508 h 316856"/>
                <a:gd name="connsiteX14" fmla="*/ 351674 w 2292197"/>
                <a:gd name="connsiteY14" fmla="*/ 131508 h 316856"/>
                <a:gd name="connsiteX15" fmla="*/ 306574 w 2292197"/>
                <a:gd name="connsiteY15" fmla="*/ 188681 h 316856"/>
                <a:gd name="connsiteX16" fmla="*/ 372919 w 2292197"/>
                <a:gd name="connsiteY16" fmla="*/ 152434 h 316856"/>
                <a:gd name="connsiteX17" fmla="*/ 351674 w 2292197"/>
                <a:gd name="connsiteY17" fmla="*/ 131508 h 316856"/>
                <a:gd name="connsiteX18" fmla="*/ 1234395 w 2292197"/>
                <a:gd name="connsiteY18" fmla="*/ 96976 h 316856"/>
                <a:gd name="connsiteX19" fmla="*/ 1293037 w 2292197"/>
                <a:gd name="connsiteY19" fmla="*/ 96976 h 316856"/>
                <a:gd name="connsiteX20" fmla="*/ 1293037 w 2292197"/>
                <a:gd name="connsiteY20" fmla="*/ 310280 h 316856"/>
                <a:gd name="connsiteX21" fmla="*/ 1263529 w 2292197"/>
                <a:gd name="connsiteY21" fmla="*/ 310280 h 316856"/>
                <a:gd name="connsiteX22" fmla="*/ 1234395 w 2292197"/>
                <a:gd name="connsiteY22" fmla="*/ 310280 h 316856"/>
                <a:gd name="connsiteX23" fmla="*/ 2081174 w 2292197"/>
                <a:gd name="connsiteY23" fmla="*/ 90402 h 316856"/>
                <a:gd name="connsiteX24" fmla="*/ 2115969 w 2292197"/>
                <a:gd name="connsiteY24" fmla="*/ 97838 h 316856"/>
                <a:gd name="connsiteX25" fmla="*/ 2105604 w 2292197"/>
                <a:gd name="connsiteY25" fmla="*/ 148028 h 316856"/>
                <a:gd name="connsiteX26" fmla="*/ 2075991 w 2292197"/>
                <a:gd name="connsiteY26" fmla="*/ 140593 h 316856"/>
                <a:gd name="connsiteX27" fmla="*/ 2040826 w 2292197"/>
                <a:gd name="connsiteY27" fmla="*/ 176656 h 316856"/>
                <a:gd name="connsiteX28" fmla="*/ 2040826 w 2292197"/>
                <a:gd name="connsiteY28" fmla="*/ 308638 h 316856"/>
                <a:gd name="connsiteX29" fmla="*/ 1982710 w 2292197"/>
                <a:gd name="connsiteY29" fmla="*/ 308638 h 316856"/>
                <a:gd name="connsiteX30" fmla="*/ 1982710 w 2292197"/>
                <a:gd name="connsiteY30" fmla="*/ 133157 h 316856"/>
                <a:gd name="connsiteX31" fmla="*/ 1978638 w 2292197"/>
                <a:gd name="connsiteY31" fmla="*/ 96351 h 316856"/>
                <a:gd name="connsiteX32" fmla="*/ 2025649 w 2292197"/>
                <a:gd name="connsiteY32" fmla="*/ 96351 h 316856"/>
                <a:gd name="connsiteX33" fmla="*/ 2031202 w 2292197"/>
                <a:gd name="connsiteY33" fmla="*/ 126837 h 316856"/>
                <a:gd name="connsiteX34" fmla="*/ 2081174 w 2292197"/>
                <a:gd name="connsiteY34" fmla="*/ 90402 h 316856"/>
                <a:gd name="connsiteX35" fmla="*/ 1866986 w 2292197"/>
                <a:gd name="connsiteY35" fmla="*/ 90402 h 316856"/>
                <a:gd name="connsiteX36" fmla="*/ 1937059 w 2292197"/>
                <a:gd name="connsiteY36" fmla="*/ 152060 h 316856"/>
                <a:gd name="connsiteX37" fmla="*/ 1821141 w 2292197"/>
                <a:gd name="connsiteY37" fmla="*/ 230534 h 316856"/>
                <a:gd name="connsiteX38" fmla="*/ 1869595 w 2292197"/>
                <a:gd name="connsiteY38" fmla="*/ 272013 h 316856"/>
                <a:gd name="connsiteX39" fmla="*/ 1922150 w 2292197"/>
                <a:gd name="connsiteY39" fmla="*/ 254076 h 316856"/>
                <a:gd name="connsiteX40" fmla="*/ 1938923 w 2292197"/>
                <a:gd name="connsiteY40" fmla="*/ 293313 h 316856"/>
                <a:gd name="connsiteX41" fmla="*/ 1862141 w 2292197"/>
                <a:gd name="connsiteY41" fmla="*/ 316855 h 316856"/>
                <a:gd name="connsiteX42" fmla="*/ 1762250 w 2292197"/>
                <a:gd name="connsiteY42" fmla="*/ 208487 h 316856"/>
                <a:gd name="connsiteX43" fmla="*/ 1866986 w 2292197"/>
                <a:gd name="connsiteY43" fmla="*/ 90402 h 316856"/>
                <a:gd name="connsiteX44" fmla="*/ 1663713 w 2292197"/>
                <a:gd name="connsiteY44" fmla="*/ 90402 h 316856"/>
                <a:gd name="connsiteX45" fmla="*/ 1733413 w 2292197"/>
                <a:gd name="connsiteY45" fmla="*/ 152060 h 316856"/>
                <a:gd name="connsiteX46" fmla="*/ 1617868 w 2292197"/>
                <a:gd name="connsiteY46" fmla="*/ 230534 h 316856"/>
                <a:gd name="connsiteX47" fmla="*/ 1666322 w 2292197"/>
                <a:gd name="connsiteY47" fmla="*/ 272013 h 316856"/>
                <a:gd name="connsiteX48" fmla="*/ 1718504 w 2292197"/>
                <a:gd name="connsiteY48" fmla="*/ 254076 h 316856"/>
                <a:gd name="connsiteX49" fmla="*/ 1735650 w 2292197"/>
                <a:gd name="connsiteY49" fmla="*/ 293313 h 316856"/>
                <a:gd name="connsiteX50" fmla="*/ 1658495 w 2292197"/>
                <a:gd name="connsiteY50" fmla="*/ 316855 h 316856"/>
                <a:gd name="connsiteX51" fmla="*/ 1558977 w 2292197"/>
                <a:gd name="connsiteY51" fmla="*/ 208487 h 316856"/>
                <a:gd name="connsiteX52" fmla="*/ 1663713 w 2292197"/>
                <a:gd name="connsiteY52" fmla="*/ 90402 h 316856"/>
                <a:gd name="connsiteX53" fmla="*/ 1457145 w 2292197"/>
                <a:gd name="connsiteY53" fmla="*/ 90402 h 316856"/>
                <a:gd name="connsiteX54" fmla="*/ 1524180 w 2292197"/>
                <a:gd name="connsiteY54" fmla="*/ 164015 h 316856"/>
                <a:gd name="connsiteX55" fmla="*/ 1524180 w 2292197"/>
                <a:gd name="connsiteY55" fmla="*/ 308638 h 316856"/>
                <a:gd name="connsiteX56" fmla="*/ 1465710 w 2292197"/>
                <a:gd name="connsiteY56" fmla="*/ 308638 h 316856"/>
                <a:gd name="connsiteX57" fmla="*/ 1465710 w 2292197"/>
                <a:gd name="connsiteY57" fmla="*/ 174797 h 316856"/>
                <a:gd name="connsiteX58" fmla="*/ 1439641 w 2292197"/>
                <a:gd name="connsiteY58" fmla="*/ 134644 h 316856"/>
                <a:gd name="connsiteX59" fmla="*/ 1403516 w 2292197"/>
                <a:gd name="connsiteY59" fmla="*/ 172566 h 316856"/>
                <a:gd name="connsiteX60" fmla="*/ 1403516 w 2292197"/>
                <a:gd name="connsiteY60" fmla="*/ 308638 h 316856"/>
                <a:gd name="connsiteX61" fmla="*/ 1345047 w 2292197"/>
                <a:gd name="connsiteY61" fmla="*/ 308638 h 316856"/>
                <a:gd name="connsiteX62" fmla="*/ 1345047 w 2292197"/>
                <a:gd name="connsiteY62" fmla="*/ 135760 h 316856"/>
                <a:gd name="connsiteX63" fmla="*/ 1340950 w 2292197"/>
                <a:gd name="connsiteY63" fmla="*/ 96351 h 316856"/>
                <a:gd name="connsiteX64" fmla="*/ 1389737 w 2292197"/>
                <a:gd name="connsiteY64" fmla="*/ 96351 h 316856"/>
                <a:gd name="connsiteX65" fmla="*/ 1393834 w 2292197"/>
                <a:gd name="connsiteY65" fmla="*/ 121632 h 316856"/>
                <a:gd name="connsiteX66" fmla="*/ 1457145 w 2292197"/>
                <a:gd name="connsiteY66" fmla="*/ 90402 h 316856"/>
                <a:gd name="connsiteX67" fmla="*/ 568075 w 2292197"/>
                <a:gd name="connsiteY67" fmla="*/ 90402 h 316856"/>
                <a:gd name="connsiteX68" fmla="*/ 644721 w 2292197"/>
                <a:gd name="connsiteY68" fmla="*/ 105688 h 316856"/>
                <a:gd name="connsiteX69" fmla="*/ 644721 w 2292197"/>
                <a:gd name="connsiteY69" fmla="*/ 266746 h 316856"/>
                <a:gd name="connsiteX70" fmla="*/ 648794 w 2292197"/>
                <a:gd name="connsiteY70" fmla="*/ 309247 h 316856"/>
                <a:gd name="connsiteX71" fmla="*/ 599178 w 2292197"/>
                <a:gd name="connsiteY71" fmla="*/ 309247 h 316856"/>
                <a:gd name="connsiteX72" fmla="*/ 596215 w 2292197"/>
                <a:gd name="connsiteY72" fmla="*/ 287624 h 316856"/>
                <a:gd name="connsiteX73" fmla="*/ 594364 w 2292197"/>
                <a:gd name="connsiteY73" fmla="*/ 287251 h 316856"/>
                <a:gd name="connsiteX74" fmla="*/ 538083 w 2292197"/>
                <a:gd name="connsiteY74" fmla="*/ 315212 h 316856"/>
                <a:gd name="connsiteX75" fmla="*/ 457365 w 2292197"/>
                <a:gd name="connsiteY75" fmla="*/ 212314 h 316856"/>
                <a:gd name="connsiteX76" fmla="*/ 568075 w 2292197"/>
                <a:gd name="connsiteY76" fmla="*/ 90402 h 316856"/>
                <a:gd name="connsiteX77" fmla="*/ 353910 w 2292197"/>
                <a:gd name="connsiteY77" fmla="*/ 90402 h 316856"/>
                <a:gd name="connsiteX78" fmla="*/ 423983 w 2292197"/>
                <a:gd name="connsiteY78" fmla="*/ 152060 h 316856"/>
                <a:gd name="connsiteX79" fmla="*/ 308065 w 2292197"/>
                <a:gd name="connsiteY79" fmla="*/ 230534 h 316856"/>
                <a:gd name="connsiteX80" fmla="*/ 356519 w 2292197"/>
                <a:gd name="connsiteY80" fmla="*/ 272013 h 316856"/>
                <a:gd name="connsiteX81" fmla="*/ 409073 w 2292197"/>
                <a:gd name="connsiteY81" fmla="*/ 254076 h 316856"/>
                <a:gd name="connsiteX82" fmla="*/ 425846 w 2292197"/>
                <a:gd name="connsiteY82" fmla="*/ 293313 h 316856"/>
                <a:gd name="connsiteX83" fmla="*/ 349065 w 2292197"/>
                <a:gd name="connsiteY83" fmla="*/ 316855 h 316856"/>
                <a:gd name="connsiteX84" fmla="*/ 249174 w 2292197"/>
                <a:gd name="connsiteY84" fmla="*/ 208487 h 316856"/>
                <a:gd name="connsiteX85" fmla="*/ 353910 w 2292197"/>
                <a:gd name="connsiteY85" fmla="*/ 90402 h 316856"/>
                <a:gd name="connsiteX86" fmla="*/ 2208041 w 2292197"/>
                <a:gd name="connsiteY86" fmla="*/ 90249 h 316856"/>
                <a:gd name="connsiteX87" fmla="*/ 2277182 w 2292197"/>
                <a:gd name="connsiteY87" fmla="*/ 108139 h 316856"/>
                <a:gd name="connsiteX88" fmla="*/ 2277182 w 2292197"/>
                <a:gd name="connsiteY88" fmla="*/ 108512 h 316856"/>
                <a:gd name="connsiteX89" fmla="*/ 2259711 w 2292197"/>
                <a:gd name="connsiteY89" fmla="*/ 148764 h 316856"/>
                <a:gd name="connsiteX90" fmla="*/ 2213245 w 2292197"/>
                <a:gd name="connsiteY90" fmla="*/ 131620 h 316856"/>
                <a:gd name="connsiteX91" fmla="*/ 2189455 w 2292197"/>
                <a:gd name="connsiteY91" fmla="*/ 152119 h 316856"/>
                <a:gd name="connsiteX92" fmla="*/ 2224025 w 2292197"/>
                <a:gd name="connsiteY92" fmla="*/ 177836 h 316856"/>
                <a:gd name="connsiteX93" fmla="*/ 2292050 w 2292197"/>
                <a:gd name="connsiteY93" fmla="*/ 238960 h 316856"/>
                <a:gd name="connsiteX94" fmla="*/ 2214360 w 2292197"/>
                <a:gd name="connsiteY94" fmla="*/ 314993 h 316856"/>
                <a:gd name="connsiteX95" fmla="*/ 2133325 w 2292197"/>
                <a:gd name="connsiteY95" fmla="*/ 297103 h 316856"/>
                <a:gd name="connsiteX96" fmla="*/ 2150796 w 2292197"/>
                <a:gd name="connsiteY96" fmla="*/ 257223 h 316856"/>
                <a:gd name="connsiteX97" fmla="*/ 2208784 w 2292197"/>
                <a:gd name="connsiteY97" fmla="*/ 272504 h 316856"/>
                <a:gd name="connsiteX98" fmla="*/ 2234433 w 2292197"/>
                <a:gd name="connsiteY98" fmla="*/ 249023 h 316856"/>
                <a:gd name="connsiteX99" fmla="*/ 2199863 w 2292197"/>
                <a:gd name="connsiteY99" fmla="*/ 224424 h 316856"/>
                <a:gd name="connsiteX100" fmla="*/ 2133325 w 2292197"/>
                <a:gd name="connsiteY100" fmla="*/ 162555 h 316856"/>
                <a:gd name="connsiteX101" fmla="*/ 2208041 w 2292197"/>
                <a:gd name="connsiteY101" fmla="*/ 90249 h 316856"/>
                <a:gd name="connsiteX102" fmla="*/ 1004892 w 2292197"/>
                <a:gd name="connsiteY102" fmla="*/ 31230 h 316856"/>
                <a:gd name="connsiteX103" fmla="*/ 1063095 w 2292197"/>
                <a:gd name="connsiteY103" fmla="*/ 31230 h 316856"/>
                <a:gd name="connsiteX104" fmla="*/ 1063095 w 2292197"/>
                <a:gd name="connsiteY104" fmla="*/ 112822 h 316856"/>
                <a:gd name="connsiteX105" fmla="*/ 1115736 w 2292197"/>
                <a:gd name="connsiteY105" fmla="*/ 90841 h 316856"/>
                <a:gd name="connsiteX106" fmla="*/ 1183207 w 2292197"/>
                <a:gd name="connsiteY106" fmla="*/ 165727 h 316856"/>
                <a:gd name="connsiteX107" fmla="*/ 1183207 w 2292197"/>
                <a:gd name="connsiteY107" fmla="*/ 310283 h 316856"/>
                <a:gd name="connsiteX108" fmla="*/ 1125004 w 2292197"/>
                <a:gd name="connsiteY108" fmla="*/ 310283 h 316856"/>
                <a:gd name="connsiteX109" fmla="*/ 1125004 w 2292197"/>
                <a:gd name="connsiteY109" fmla="*/ 174668 h 316856"/>
                <a:gd name="connsiteX110" fmla="*/ 1098313 w 2292197"/>
                <a:gd name="connsiteY110" fmla="*/ 136294 h 316856"/>
                <a:gd name="connsiteX111" fmla="*/ 1062353 w 2292197"/>
                <a:gd name="connsiteY111" fmla="*/ 173178 h 316856"/>
                <a:gd name="connsiteX112" fmla="*/ 1062353 w 2292197"/>
                <a:gd name="connsiteY112" fmla="*/ 310283 h 316856"/>
                <a:gd name="connsiteX113" fmla="*/ 1004892 w 2292197"/>
                <a:gd name="connsiteY113" fmla="*/ 310283 h 316856"/>
                <a:gd name="connsiteX114" fmla="*/ 842391 w 2292197"/>
                <a:gd name="connsiteY114" fmla="*/ 31230 h 316856"/>
                <a:gd name="connsiteX115" fmla="*/ 900136 w 2292197"/>
                <a:gd name="connsiteY115" fmla="*/ 31230 h 316856"/>
                <a:gd name="connsiteX116" fmla="*/ 900136 w 2292197"/>
                <a:gd name="connsiteY116" fmla="*/ 97603 h 316856"/>
                <a:gd name="connsiteX117" fmla="*/ 954920 w 2292197"/>
                <a:gd name="connsiteY117" fmla="*/ 97603 h 316856"/>
                <a:gd name="connsiteX118" fmla="*/ 954920 w 2292197"/>
                <a:gd name="connsiteY118" fmla="*/ 143467 h 316856"/>
                <a:gd name="connsiteX119" fmla="*/ 900877 w 2292197"/>
                <a:gd name="connsiteY119" fmla="*/ 143467 h 316856"/>
                <a:gd name="connsiteX120" fmla="*/ 900877 w 2292197"/>
                <a:gd name="connsiteY120" fmla="*/ 238551 h 316856"/>
                <a:gd name="connsiteX121" fmla="*/ 921236 w 2292197"/>
                <a:gd name="connsiteY121" fmla="*/ 270992 h 316856"/>
                <a:gd name="connsiteX122" fmla="*/ 946407 w 2292197"/>
                <a:gd name="connsiteY122" fmla="*/ 264653 h 316856"/>
                <a:gd name="connsiteX123" fmla="*/ 958622 w 2292197"/>
                <a:gd name="connsiteY123" fmla="*/ 303433 h 316856"/>
                <a:gd name="connsiteX124" fmla="*/ 905689 w 2292197"/>
                <a:gd name="connsiteY124" fmla="*/ 316856 h 316856"/>
                <a:gd name="connsiteX125" fmla="*/ 842391 w 2292197"/>
                <a:gd name="connsiteY125" fmla="*/ 247128 h 316856"/>
                <a:gd name="connsiteX126" fmla="*/ 842391 w 2292197"/>
                <a:gd name="connsiteY126" fmla="*/ 143467 h 316856"/>
                <a:gd name="connsiteX127" fmla="*/ 809816 w 2292197"/>
                <a:gd name="connsiteY127" fmla="*/ 143467 h 316856"/>
                <a:gd name="connsiteX128" fmla="*/ 809816 w 2292197"/>
                <a:gd name="connsiteY128" fmla="*/ 97603 h 316856"/>
                <a:gd name="connsiteX129" fmla="*/ 842391 w 2292197"/>
                <a:gd name="connsiteY129" fmla="*/ 97603 h 316856"/>
                <a:gd name="connsiteX130" fmla="*/ 698343 w 2292197"/>
                <a:gd name="connsiteY130" fmla="*/ 31230 h 316856"/>
                <a:gd name="connsiteX131" fmla="*/ 756722 w 2292197"/>
                <a:gd name="connsiteY131" fmla="*/ 31230 h 316856"/>
                <a:gd name="connsiteX132" fmla="*/ 756722 w 2292197"/>
                <a:gd name="connsiteY132" fmla="*/ 238449 h 316856"/>
                <a:gd name="connsiteX133" fmla="*/ 777045 w 2292197"/>
                <a:gd name="connsiteY133" fmla="*/ 270932 h 316856"/>
                <a:gd name="connsiteX134" fmla="*/ 802170 w 2292197"/>
                <a:gd name="connsiteY134" fmla="*/ 264584 h 316856"/>
                <a:gd name="connsiteX135" fmla="*/ 814364 w 2292197"/>
                <a:gd name="connsiteY135" fmla="*/ 303415 h 316856"/>
                <a:gd name="connsiteX136" fmla="*/ 761895 w 2292197"/>
                <a:gd name="connsiteY136" fmla="*/ 316856 h 316856"/>
                <a:gd name="connsiteX137" fmla="*/ 698343 w 2292197"/>
                <a:gd name="connsiteY137" fmla="*/ 247036 h 316856"/>
                <a:gd name="connsiteX138" fmla="*/ 0 w 2292197"/>
                <a:gd name="connsiteY138" fmla="*/ 31230 h 316856"/>
                <a:gd name="connsiteX139" fmla="*/ 59654 w 2292197"/>
                <a:gd name="connsiteY139" fmla="*/ 31230 h 316856"/>
                <a:gd name="connsiteX140" fmla="*/ 59654 w 2292197"/>
                <a:gd name="connsiteY140" fmla="*/ 142255 h 316856"/>
                <a:gd name="connsiteX141" fmla="*/ 145779 w 2292197"/>
                <a:gd name="connsiteY141" fmla="*/ 142255 h 316856"/>
                <a:gd name="connsiteX142" fmla="*/ 145779 w 2292197"/>
                <a:gd name="connsiteY142" fmla="*/ 31230 h 316856"/>
                <a:gd name="connsiteX143" fmla="*/ 206179 w 2292197"/>
                <a:gd name="connsiteY143" fmla="*/ 31230 h 316856"/>
                <a:gd name="connsiteX144" fmla="*/ 206179 w 2292197"/>
                <a:gd name="connsiteY144" fmla="*/ 310283 h 316856"/>
                <a:gd name="connsiteX145" fmla="*/ 145779 w 2292197"/>
                <a:gd name="connsiteY145" fmla="*/ 310283 h 316856"/>
                <a:gd name="connsiteX146" fmla="*/ 145779 w 2292197"/>
                <a:gd name="connsiteY146" fmla="*/ 194787 h 316856"/>
                <a:gd name="connsiteX147" fmla="*/ 59654 w 2292197"/>
                <a:gd name="connsiteY147" fmla="*/ 194787 h 316856"/>
                <a:gd name="connsiteX148" fmla="*/ 59654 w 2292197"/>
                <a:gd name="connsiteY148" fmla="*/ 310283 h 316856"/>
                <a:gd name="connsiteX149" fmla="*/ 0 w 2292197"/>
                <a:gd name="connsiteY149" fmla="*/ 310283 h 316856"/>
                <a:gd name="connsiteX150" fmla="*/ 1262898 w 2292197"/>
                <a:gd name="connsiteY150" fmla="*/ 0 h 316856"/>
                <a:gd name="connsiteX151" fmla="*/ 1294680 w 2292197"/>
                <a:gd name="connsiteY151" fmla="*/ 30408 h 316856"/>
                <a:gd name="connsiteX152" fmla="*/ 1262898 w 2292197"/>
                <a:gd name="connsiteY152" fmla="*/ 60442 h 316856"/>
                <a:gd name="connsiteX153" fmla="*/ 1231116 w 2292197"/>
                <a:gd name="connsiteY153" fmla="*/ 30408 h 316856"/>
                <a:gd name="connsiteX154" fmla="*/ 1262898 w 2292197"/>
                <a:gd name="connsiteY154" fmla="*/ 0 h 316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2292197" h="316856">
                  <a:moveTo>
                    <a:pt x="561040" y="133276"/>
                  </a:moveTo>
                  <a:cubicBezTo>
                    <a:pt x="526975" y="133276"/>
                    <a:pt x="514756" y="167576"/>
                    <a:pt x="514756" y="208959"/>
                  </a:cubicBezTo>
                  <a:cubicBezTo>
                    <a:pt x="514756" y="242885"/>
                    <a:pt x="522532" y="272711"/>
                    <a:pt x="553264" y="272711"/>
                  </a:cubicBezTo>
                  <a:cubicBezTo>
                    <a:pt x="575110" y="272711"/>
                    <a:pt x="587329" y="256680"/>
                    <a:pt x="587329" y="241394"/>
                  </a:cubicBezTo>
                  <a:lnTo>
                    <a:pt x="587329" y="137750"/>
                  </a:lnTo>
                  <a:cubicBezTo>
                    <a:pt x="581775" y="135140"/>
                    <a:pt x="572148" y="133276"/>
                    <a:pt x="561040" y="133276"/>
                  </a:cubicBezTo>
                  <a:close/>
                  <a:moveTo>
                    <a:pt x="1864005" y="131508"/>
                  </a:moveTo>
                  <a:cubicBezTo>
                    <a:pt x="1835677" y="131508"/>
                    <a:pt x="1820768" y="159908"/>
                    <a:pt x="1819277" y="188681"/>
                  </a:cubicBezTo>
                  <a:cubicBezTo>
                    <a:pt x="1846486" y="187934"/>
                    <a:pt x="1885623" y="181208"/>
                    <a:pt x="1885623" y="152434"/>
                  </a:cubicBezTo>
                  <a:cubicBezTo>
                    <a:pt x="1885623" y="139355"/>
                    <a:pt x="1877795" y="131508"/>
                    <a:pt x="1864005" y="131508"/>
                  </a:cubicBezTo>
                  <a:close/>
                  <a:moveTo>
                    <a:pt x="1660732" y="131508"/>
                  </a:moveTo>
                  <a:cubicBezTo>
                    <a:pt x="1632032" y="131508"/>
                    <a:pt x="1617123" y="159908"/>
                    <a:pt x="1615632" y="188681"/>
                  </a:cubicBezTo>
                  <a:cubicBezTo>
                    <a:pt x="1643213" y="187934"/>
                    <a:pt x="1681977" y="181208"/>
                    <a:pt x="1681977" y="152434"/>
                  </a:cubicBezTo>
                  <a:cubicBezTo>
                    <a:pt x="1681977" y="139355"/>
                    <a:pt x="1673777" y="131508"/>
                    <a:pt x="1660732" y="131508"/>
                  </a:cubicBezTo>
                  <a:close/>
                  <a:moveTo>
                    <a:pt x="351674" y="131508"/>
                  </a:moveTo>
                  <a:cubicBezTo>
                    <a:pt x="322974" y="131508"/>
                    <a:pt x="308065" y="159908"/>
                    <a:pt x="306574" y="188681"/>
                  </a:cubicBezTo>
                  <a:cubicBezTo>
                    <a:pt x="334155" y="187934"/>
                    <a:pt x="372919" y="181208"/>
                    <a:pt x="372919" y="152434"/>
                  </a:cubicBezTo>
                  <a:cubicBezTo>
                    <a:pt x="372919" y="139355"/>
                    <a:pt x="364719" y="131508"/>
                    <a:pt x="351674" y="131508"/>
                  </a:cubicBezTo>
                  <a:close/>
                  <a:moveTo>
                    <a:pt x="1234395" y="96976"/>
                  </a:moveTo>
                  <a:lnTo>
                    <a:pt x="1293037" y="96976"/>
                  </a:lnTo>
                  <a:lnTo>
                    <a:pt x="1293037" y="310280"/>
                  </a:lnTo>
                  <a:lnTo>
                    <a:pt x="1263529" y="310280"/>
                  </a:lnTo>
                  <a:lnTo>
                    <a:pt x="1234395" y="310280"/>
                  </a:lnTo>
                  <a:close/>
                  <a:moveTo>
                    <a:pt x="2081174" y="90402"/>
                  </a:moveTo>
                  <a:cubicBezTo>
                    <a:pt x="2093389" y="90402"/>
                    <a:pt x="2105975" y="92261"/>
                    <a:pt x="2115969" y="97838"/>
                  </a:cubicBezTo>
                  <a:lnTo>
                    <a:pt x="2105604" y="148028"/>
                  </a:lnTo>
                  <a:cubicBezTo>
                    <a:pt x="2096721" y="143567"/>
                    <a:pt x="2086726" y="140593"/>
                    <a:pt x="2075991" y="140593"/>
                  </a:cubicBezTo>
                  <a:cubicBezTo>
                    <a:pt x="2054892" y="140593"/>
                    <a:pt x="2041566" y="154720"/>
                    <a:pt x="2040826" y="176656"/>
                  </a:cubicBezTo>
                  <a:lnTo>
                    <a:pt x="2040826" y="308638"/>
                  </a:lnTo>
                  <a:lnTo>
                    <a:pt x="1982710" y="308638"/>
                  </a:lnTo>
                  <a:lnTo>
                    <a:pt x="1982710" y="133157"/>
                  </a:lnTo>
                  <a:lnTo>
                    <a:pt x="1978638" y="96351"/>
                  </a:lnTo>
                  <a:lnTo>
                    <a:pt x="2025649" y="96351"/>
                  </a:lnTo>
                  <a:lnTo>
                    <a:pt x="2031202" y="126837"/>
                  </a:lnTo>
                  <a:cubicBezTo>
                    <a:pt x="2041196" y="102299"/>
                    <a:pt x="2061555" y="90402"/>
                    <a:pt x="2081174" y="90402"/>
                  </a:cubicBezTo>
                  <a:close/>
                  <a:moveTo>
                    <a:pt x="1866986" y="90402"/>
                  </a:moveTo>
                  <a:cubicBezTo>
                    <a:pt x="1909477" y="90402"/>
                    <a:pt x="1937059" y="111702"/>
                    <a:pt x="1937059" y="152060"/>
                  </a:cubicBezTo>
                  <a:cubicBezTo>
                    <a:pt x="1937059" y="215213"/>
                    <a:pt x="1872577" y="227545"/>
                    <a:pt x="1821141" y="230534"/>
                  </a:cubicBezTo>
                  <a:cubicBezTo>
                    <a:pt x="1824123" y="250713"/>
                    <a:pt x="1837541" y="272013"/>
                    <a:pt x="1869595" y="272013"/>
                  </a:cubicBezTo>
                  <a:cubicBezTo>
                    <a:pt x="1891959" y="272013"/>
                    <a:pt x="1910223" y="262297"/>
                    <a:pt x="1922150" y="254076"/>
                  </a:cubicBezTo>
                  <a:lnTo>
                    <a:pt x="1938923" y="293313"/>
                  </a:lnTo>
                  <a:cubicBezTo>
                    <a:pt x="1934077" y="297050"/>
                    <a:pt x="1904632" y="316855"/>
                    <a:pt x="1862141" y="316855"/>
                  </a:cubicBezTo>
                  <a:cubicBezTo>
                    <a:pt x="1790577" y="316855"/>
                    <a:pt x="1762250" y="271640"/>
                    <a:pt x="1762250" y="208487"/>
                  </a:cubicBezTo>
                  <a:cubicBezTo>
                    <a:pt x="1762250" y="146829"/>
                    <a:pt x="1798405" y="90402"/>
                    <a:pt x="1866986" y="90402"/>
                  </a:cubicBezTo>
                  <a:close/>
                  <a:moveTo>
                    <a:pt x="1663713" y="90402"/>
                  </a:moveTo>
                  <a:cubicBezTo>
                    <a:pt x="1706204" y="90402"/>
                    <a:pt x="1733413" y="111702"/>
                    <a:pt x="1733413" y="152060"/>
                  </a:cubicBezTo>
                  <a:cubicBezTo>
                    <a:pt x="1733413" y="215213"/>
                    <a:pt x="1669304" y="227545"/>
                    <a:pt x="1617868" y="230534"/>
                  </a:cubicBezTo>
                  <a:cubicBezTo>
                    <a:pt x="1620850" y="250713"/>
                    <a:pt x="1634268" y="272013"/>
                    <a:pt x="1666322" y="272013"/>
                  </a:cubicBezTo>
                  <a:cubicBezTo>
                    <a:pt x="1688686" y="272013"/>
                    <a:pt x="1706577" y="262297"/>
                    <a:pt x="1718504" y="254076"/>
                  </a:cubicBezTo>
                  <a:lnTo>
                    <a:pt x="1735650" y="293313"/>
                  </a:lnTo>
                  <a:cubicBezTo>
                    <a:pt x="1730431" y="297050"/>
                    <a:pt x="1700986" y="316855"/>
                    <a:pt x="1658495" y="316855"/>
                  </a:cubicBezTo>
                  <a:cubicBezTo>
                    <a:pt x="1587304" y="316855"/>
                    <a:pt x="1558977" y="271640"/>
                    <a:pt x="1558977" y="208487"/>
                  </a:cubicBezTo>
                  <a:cubicBezTo>
                    <a:pt x="1558977" y="146829"/>
                    <a:pt x="1594759" y="90402"/>
                    <a:pt x="1663713" y="90402"/>
                  </a:cubicBezTo>
                  <a:close/>
                  <a:moveTo>
                    <a:pt x="1457145" y="90402"/>
                  </a:moveTo>
                  <a:cubicBezTo>
                    <a:pt x="1498483" y="90402"/>
                    <a:pt x="1524180" y="113824"/>
                    <a:pt x="1524180" y="164015"/>
                  </a:cubicBezTo>
                  <a:lnTo>
                    <a:pt x="1524180" y="308638"/>
                  </a:lnTo>
                  <a:lnTo>
                    <a:pt x="1465710" y="308638"/>
                  </a:lnTo>
                  <a:lnTo>
                    <a:pt x="1465710" y="174797"/>
                  </a:lnTo>
                  <a:cubicBezTo>
                    <a:pt x="1465710" y="152118"/>
                    <a:pt x="1462358" y="134644"/>
                    <a:pt x="1439641" y="134644"/>
                  </a:cubicBezTo>
                  <a:cubicBezTo>
                    <a:pt x="1417668" y="134644"/>
                    <a:pt x="1403516" y="152490"/>
                    <a:pt x="1403516" y="172566"/>
                  </a:cubicBezTo>
                  <a:lnTo>
                    <a:pt x="1403516" y="308638"/>
                  </a:lnTo>
                  <a:lnTo>
                    <a:pt x="1345047" y="308638"/>
                  </a:lnTo>
                  <a:lnTo>
                    <a:pt x="1345047" y="135760"/>
                  </a:lnTo>
                  <a:lnTo>
                    <a:pt x="1340950" y="96351"/>
                  </a:lnTo>
                  <a:lnTo>
                    <a:pt x="1389737" y="96351"/>
                  </a:lnTo>
                  <a:lnTo>
                    <a:pt x="1393834" y="121632"/>
                  </a:lnTo>
                  <a:cubicBezTo>
                    <a:pt x="1407985" y="102299"/>
                    <a:pt x="1429213" y="90402"/>
                    <a:pt x="1457145" y="90402"/>
                  </a:cubicBezTo>
                  <a:close/>
                  <a:moveTo>
                    <a:pt x="568075" y="90402"/>
                  </a:moveTo>
                  <a:cubicBezTo>
                    <a:pt x="582516" y="90402"/>
                    <a:pt x="613248" y="93758"/>
                    <a:pt x="644721" y="105688"/>
                  </a:cubicBezTo>
                  <a:lnTo>
                    <a:pt x="644721" y="266746"/>
                  </a:lnTo>
                  <a:lnTo>
                    <a:pt x="648794" y="309247"/>
                  </a:lnTo>
                  <a:lnTo>
                    <a:pt x="599178" y="309247"/>
                  </a:lnTo>
                  <a:lnTo>
                    <a:pt x="596215" y="287624"/>
                  </a:lnTo>
                  <a:lnTo>
                    <a:pt x="594364" y="287251"/>
                  </a:lnTo>
                  <a:cubicBezTo>
                    <a:pt x="581775" y="306637"/>
                    <a:pt x="560670" y="315212"/>
                    <a:pt x="538083" y="315212"/>
                  </a:cubicBezTo>
                  <a:cubicBezTo>
                    <a:pt x="477730" y="315212"/>
                    <a:pt x="457365" y="269356"/>
                    <a:pt x="457365" y="212314"/>
                  </a:cubicBezTo>
                  <a:cubicBezTo>
                    <a:pt x="457365" y="138869"/>
                    <a:pt x="494021" y="90402"/>
                    <a:pt x="568075" y="90402"/>
                  </a:cubicBezTo>
                  <a:close/>
                  <a:moveTo>
                    <a:pt x="353910" y="90402"/>
                  </a:moveTo>
                  <a:cubicBezTo>
                    <a:pt x="396401" y="90402"/>
                    <a:pt x="423983" y="111702"/>
                    <a:pt x="423983" y="152060"/>
                  </a:cubicBezTo>
                  <a:cubicBezTo>
                    <a:pt x="423983" y="215213"/>
                    <a:pt x="360246" y="227545"/>
                    <a:pt x="308065" y="230534"/>
                  </a:cubicBezTo>
                  <a:cubicBezTo>
                    <a:pt x="311046" y="250713"/>
                    <a:pt x="324465" y="272013"/>
                    <a:pt x="356519" y="272013"/>
                  </a:cubicBezTo>
                  <a:cubicBezTo>
                    <a:pt x="378883" y="272013"/>
                    <a:pt x="397146" y="262297"/>
                    <a:pt x="409073" y="254076"/>
                  </a:cubicBezTo>
                  <a:lnTo>
                    <a:pt x="425846" y="293313"/>
                  </a:lnTo>
                  <a:cubicBezTo>
                    <a:pt x="421001" y="297050"/>
                    <a:pt x="391555" y="316855"/>
                    <a:pt x="349065" y="316855"/>
                  </a:cubicBezTo>
                  <a:cubicBezTo>
                    <a:pt x="277501" y="316855"/>
                    <a:pt x="249174" y="271640"/>
                    <a:pt x="249174" y="208487"/>
                  </a:cubicBezTo>
                  <a:cubicBezTo>
                    <a:pt x="249174" y="146829"/>
                    <a:pt x="285328" y="90402"/>
                    <a:pt x="353910" y="90402"/>
                  </a:cubicBezTo>
                  <a:close/>
                  <a:moveTo>
                    <a:pt x="2208041" y="90249"/>
                  </a:moveTo>
                  <a:cubicBezTo>
                    <a:pt x="2234433" y="88758"/>
                    <a:pt x="2258595" y="96212"/>
                    <a:pt x="2277182" y="108139"/>
                  </a:cubicBezTo>
                  <a:lnTo>
                    <a:pt x="2277182" y="108512"/>
                  </a:lnTo>
                  <a:lnTo>
                    <a:pt x="2259711" y="148764"/>
                  </a:lnTo>
                  <a:cubicBezTo>
                    <a:pt x="2243355" y="137210"/>
                    <a:pt x="2227742" y="131247"/>
                    <a:pt x="2213245" y="131620"/>
                  </a:cubicBezTo>
                  <a:cubicBezTo>
                    <a:pt x="2199863" y="131992"/>
                    <a:pt x="2189083" y="137956"/>
                    <a:pt x="2189455" y="152119"/>
                  </a:cubicBezTo>
                  <a:cubicBezTo>
                    <a:pt x="2190570" y="168518"/>
                    <a:pt x="2205067" y="172618"/>
                    <a:pt x="2224025" y="177836"/>
                  </a:cubicBezTo>
                  <a:cubicBezTo>
                    <a:pt x="2254878" y="185663"/>
                    <a:pt x="2289448" y="194980"/>
                    <a:pt x="2292050" y="238960"/>
                  </a:cubicBezTo>
                  <a:cubicBezTo>
                    <a:pt x="2294653" y="287040"/>
                    <a:pt x="2262684" y="312384"/>
                    <a:pt x="2214360" y="314993"/>
                  </a:cubicBezTo>
                  <a:cubicBezTo>
                    <a:pt x="2177188" y="316856"/>
                    <a:pt x="2145591" y="304930"/>
                    <a:pt x="2133325" y="297103"/>
                  </a:cubicBezTo>
                  <a:lnTo>
                    <a:pt x="2150796" y="257223"/>
                  </a:lnTo>
                  <a:cubicBezTo>
                    <a:pt x="2166036" y="265050"/>
                    <a:pt x="2189827" y="273622"/>
                    <a:pt x="2208784" y="272504"/>
                  </a:cubicBezTo>
                  <a:cubicBezTo>
                    <a:pt x="2224397" y="272131"/>
                    <a:pt x="2235177" y="265050"/>
                    <a:pt x="2234433" y="249023"/>
                  </a:cubicBezTo>
                  <a:cubicBezTo>
                    <a:pt x="2233318" y="232624"/>
                    <a:pt x="2218449" y="229270"/>
                    <a:pt x="2199863" y="224424"/>
                  </a:cubicBezTo>
                  <a:cubicBezTo>
                    <a:pt x="2167895" y="216970"/>
                    <a:pt x="2135927" y="206534"/>
                    <a:pt x="2133325" y="162555"/>
                  </a:cubicBezTo>
                  <a:cubicBezTo>
                    <a:pt x="2131094" y="118202"/>
                    <a:pt x="2164549" y="92858"/>
                    <a:pt x="2208041" y="90249"/>
                  </a:cubicBezTo>
                  <a:close/>
                  <a:moveTo>
                    <a:pt x="1004892" y="31230"/>
                  </a:moveTo>
                  <a:lnTo>
                    <a:pt x="1063095" y="31230"/>
                  </a:lnTo>
                  <a:lnTo>
                    <a:pt x="1063095" y="112822"/>
                  </a:lnTo>
                  <a:cubicBezTo>
                    <a:pt x="1076440" y="98665"/>
                    <a:pt x="1095347" y="90841"/>
                    <a:pt x="1115736" y="90841"/>
                  </a:cubicBezTo>
                  <a:cubicBezTo>
                    <a:pt x="1159481" y="90841"/>
                    <a:pt x="1183207" y="115803"/>
                    <a:pt x="1183207" y="165727"/>
                  </a:cubicBezTo>
                  <a:lnTo>
                    <a:pt x="1183207" y="310283"/>
                  </a:lnTo>
                  <a:lnTo>
                    <a:pt x="1125004" y="310283"/>
                  </a:lnTo>
                  <a:lnTo>
                    <a:pt x="1125004" y="174668"/>
                  </a:lnTo>
                  <a:cubicBezTo>
                    <a:pt x="1125004" y="153432"/>
                    <a:pt x="1120556" y="136294"/>
                    <a:pt x="1098313" y="136294"/>
                  </a:cubicBezTo>
                  <a:cubicBezTo>
                    <a:pt x="1076811" y="136294"/>
                    <a:pt x="1062353" y="153432"/>
                    <a:pt x="1062353" y="173178"/>
                  </a:cubicBezTo>
                  <a:lnTo>
                    <a:pt x="1062353" y="310283"/>
                  </a:lnTo>
                  <a:lnTo>
                    <a:pt x="1004892" y="310283"/>
                  </a:lnTo>
                  <a:close/>
                  <a:moveTo>
                    <a:pt x="842391" y="31230"/>
                  </a:moveTo>
                  <a:lnTo>
                    <a:pt x="900136" y="31230"/>
                  </a:lnTo>
                  <a:lnTo>
                    <a:pt x="900136" y="97603"/>
                  </a:lnTo>
                  <a:lnTo>
                    <a:pt x="954920" y="97603"/>
                  </a:lnTo>
                  <a:lnTo>
                    <a:pt x="954920" y="143467"/>
                  </a:lnTo>
                  <a:lnTo>
                    <a:pt x="900877" y="143467"/>
                  </a:lnTo>
                  <a:lnTo>
                    <a:pt x="900877" y="238551"/>
                  </a:lnTo>
                  <a:cubicBezTo>
                    <a:pt x="900877" y="261670"/>
                    <a:pt x="905689" y="270992"/>
                    <a:pt x="921236" y="270992"/>
                  </a:cubicBezTo>
                  <a:cubicBezTo>
                    <a:pt x="928639" y="270992"/>
                    <a:pt x="936782" y="268382"/>
                    <a:pt x="946407" y="264653"/>
                  </a:cubicBezTo>
                  <a:lnTo>
                    <a:pt x="958622" y="303433"/>
                  </a:lnTo>
                  <a:cubicBezTo>
                    <a:pt x="946407" y="311636"/>
                    <a:pt x="924197" y="316856"/>
                    <a:pt x="905689" y="316856"/>
                  </a:cubicBezTo>
                  <a:cubicBezTo>
                    <a:pt x="845722" y="316856"/>
                    <a:pt x="842391" y="282551"/>
                    <a:pt x="842391" y="247128"/>
                  </a:cubicBezTo>
                  <a:lnTo>
                    <a:pt x="842391" y="143467"/>
                  </a:lnTo>
                  <a:lnTo>
                    <a:pt x="809816" y="143467"/>
                  </a:lnTo>
                  <a:lnTo>
                    <a:pt x="809816" y="97603"/>
                  </a:lnTo>
                  <a:lnTo>
                    <a:pt x="842391" y="97603"/>
                  </a:lnTo>
                  <a:close/>
                  <a:moveTo>
                    <a:pt x="698343" y="31230"/>
                  </a:moveTo>
                  <a:lnTo>
                    <a:pt x="756722" y="31230"/>
                  </a:lnTo>
                  <a:lnTo>
                    <a:pt x="756722" y="238449"/>
                  </a:lnTo>
                  <a:cubicBezTo>
                    <a:pt x="756722" y="261597"/>
                    <a:pt x="761895" y="270932"/>
                    <a:pt x="777045" y="270932"/>
                  </a:cubicBezTo>
                  <a:cubicBezTo>
                    <a:pt x="784434" y="270932"/>
                    <a:pt x="792563" y="268318"/>
                    <a:pt x="802170" y="264584"/>
                  </a:cubicBezTo>
                  <a:lnTo>
                    <a:pt x="814364" y="303415"/>
                  </a:lnTo>
                  <a:cubicBezTo>
                    <a:pt x="802170" y="311629"/>
                    <a:pt x="780000" y="316856"/>
                    <a:pt x="761895" y="316856"/>
                  </a:cubicBezTo>
                  <a:cubicBezTo>
                    <a:pt x="702038" y="316856"/>
                    <a:pt x="698343" y="282506"/>
                    <a:pt x="698343" y="247036"/>
                  </a:cubicBezTo>
                  <a:close/>
                  <a:moveTo>
                    <a:pt x="0" y="31230"/>
                  </a:moveTo>
                  <a:lnTo>
                    <a:pt x="59654" y="31230"/>
                  </a:lnTo>
                  <a:lnTo>
                    <a:pt x="59654" y="142255"/>
                  </a:lnTo>
                  <a:lnTo>
                    <a:pt x="145779" y="142255"/>
                  </a:lnTo>
                  <a:lnTo>
                    <a:pt x="145779" y="31230"/>
                  </a:lnTo>
                  <a:lnTo>
                    <a:pt x="206179" y="31230"/>
                  </a:lnTo>
                  <a:lnTo>
                    <a:pt x="206179" y="310283"/>
                  </a:lnTo>
                  <a:lnTo>
                    <a:pt x="145779" y="310283"/>
                  </a:lnTo>
                  <a:lnTo>
                    <a:pt x="145779" y="194787"/>
                  </a:lnTo>
                  <a:lnTo>
                    <a:pt x="59654" y="194787"/>
                  </a:lnTo>
                  <a:lnTo>
                    <a:pt x="59654" y="310283"/>
                  </a:lnTo>
                  <a:lnTo>
                    <a:pt x="0" y="310283"/>
                  </a:lnTo>
                  <a:close/>
                  <a:moveTo>
                    <a:pt x="1262898" y="0"/>
                  </a:moveTo>
                  <a:cubicBezTo>
                    <a:pt x="1281745" y="0"/>
                    <a:pt x="1294680" y="13890"/>
                    <a:pt x="1294680" y="30408"/>
                  </a:cubicBezTo>
                  <a:cubicBezTo>
                    <a:pt x="1294680" y="48053"/>
                    <a:pt x="1281745" y="60442"/>
                    <a:pt x="1262898" y="60442"/>
                  </a:cubicBezTo>
                  <a:cubicBezTo>
                    <a:pt x="1243681" y="60442"/>
                    <a:pt x="1231116" y="48053"/>
                    <a:pt x="1231116" y="30408"/>
                  </a:cubicBezTo>
                  <a:cubicBezTo>
                    <a:pt x="1231116" y="13890"/>
                    <a:pt x="1244051" y="0"/>
                    <a:pt x="1262898" y="0"/>
                  </a:cubicBezTo>
                  <a:close/>
                </a:path>
              </a:pathLst>
            </a:custGeom>
            <a:grpFill/>
            <a:ln w="9525" cap="flat">
              <a:noFill/>
              <a:bevel/>
              <a:headEnd/>
              <a:tailEnd/>
            </a:ln>
            <a:effectLst/>
          </p:spPr>
          <p:txBody>
            <a:bodyPr wrap="square" anchor="ctr">
              <a:prstTxWarp prst="textNoShape">
                <a:avLst/>
              </a:prstTxWarp>
              <a:noAutofit/>
            </a:bodyPr>
            <a:lstStyle/>
            <a:p>
              <a:pPr marL="0" marR="0" lvl="0" indent="0" defTabSz="10889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"/>
                <a:cs typeface=""/>
              </a:endParaRPr>
            </a:p>
          </p:txBody>
        </p:sp>
      </p:grpSp>
      <p:grpSp>
        <p:nvGrpSpPr>
          <p:cNvPr id="153" name="Gruppieren 152"/>
          <p:cNvGrpSpPr/>
          <p:nvPr/>
        </p:nvGrpSpPr>
        <p:grpSpPr>
          <a:xfrm>
            <a:off x="-381000" y="-377826"/>
            <a:ext cx="12915900" cy="7610481"/>
            <a:chOff x="-381000" y="-377826"/>
            <a:chExt cx="12915900" cy="7610481"/>
          </a:xfrm>
        </p:grpSpPr>
        <p:cxnSp>
          <p:nvCxnSpPr>
            <p:cNvPr id="154" name="Gerade Verbindung 153"/>
            <p:cNvCxnSpPr/>
            <p:nvPr userDrawn="1"/>
          </p:nvCxnSpPr>
          <p:spPr>
            <a:xfrm flipH="1">
              <a:off x="-381000" y="163036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Gerade Verbindung 154"/>
            <p:cNvCxnSpPr/>
            <p:nvPr userDrawn="1"/>
          </p:nvCxnSpPr>
          <p:spPr>
            <a:xfrm flipH="1">
              <a:off x="-381000" y="630872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Gerade Verbindung 155"/>
            <p:cNvCxnSpPr/>
            <p:nvPr userDrawn="1"/>
          </p:nvCxnSpPr>
          <p:spPr>
            <a:xfrm flipH="1">
              <a:off x="12315825" y="163036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Gerade Verbindung 156"/>
            <p:cNvCxnSpPr/>
            <p:nvPr userDrawn="1"/>
          </p:nvCxnSpPr>
          <p:spPr>
            <a:xfrm flipH="1">
              <a:off x="12315825" y="630872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Gerade Verbindung 157"/>
            <p:cNvCxnSpPr/>
            <p:nvPr userDrawn="1"/>
          </p:nvCxnSpPr>
          <p:spPr>
            <a:xfrm rot="16200000" flipH="1">
              <a:off x="11533187" y="712311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Gerade Verbindung 158"/>
            <p:cNvCxnSpPr/>
            <p:nvPr userDrawn="1"/>
          </p:nvCxnSpPr>
          <p:spPr>
            <a:xfrm rot="16200000" flipH="1">
              <a:off x="9513887" y="712311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Gerade Verbindung 159"/>
            <p:cNvCxnSpPr/>
            <p:nvPr userDrawn="1"/>
          </p:nvCxnSpPr>
          <p:spPr>
            <a:xfrm rot="16200000" flipH="1">
              <a:off x="372160" y="712311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Gerade Verbindung 160"/>
            <p:cNvCxnSpPr/>
            <p:nvPr userDrawn="1"/>
          </p:nvCxnSpPr>
          <p:spPr>
            <a:xfrm rot="16200000" flipH="1">
              <a:off x="7764463" y="712311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Gerade Verbindung 161"/>
            <p:cNvCxnSpPr/>
            <p:nvPr userDrawn="1"/>
          </p:nvCxnSpPr>
          <p:spPr>
            <a:xfrm rot="16200000" flipH="1">
              <a:off x="7907339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Gerade Verbindung 162"/>
            <p:cNvCxnSpPr/>
            <p:nvPr userDrawn="1"/>
          </p:nvCxnSpPr>
          <p:spPr>
            <a:xfrm rot="16200000" flipH="1">
              <a:off x="5878514" y="712311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Gerade Verbindung 163"/>
            <p:cNvCxnSpPr/>
            <p:nvPr userDrawn="1"/>
          </p:nvCxnSpPr>
          <p:spPr>
            <a:xfrm rot="16200000" flipH="1">
              <a:off x="6021390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Gerade Verbindung 164"/>
            <p:cNvCxnSpPr/>
            <p:nvPr userDrawn="1"/>
          </p:nvCxnSpPr>
          <p:spPr>
            <a:xfrm rot="16200000" flipH="1">
              <a:off x="3997326" y="712311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Gerade Verbindung 165"/>
            <p:cNvCxnSpPr/>
            <p:nvPr userDrawn="1"/>
          </p:nvCxnSpPr>
          <p:spPr>
            <a:xfrm rot="16200000" flipH="1">
              <a:off x="4140202" y="712311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Gerade Verbindung 166"/>
            <p:cNvCxnSpPr/>
            <p:nvPr userDrawn="1"/>
          </p:nvCxnSpPr>
          <p:spPr>
            <a:xfrm rot="16200000" flipH="1">
              <a:off x="11533188" y="-26828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Gerade Verbindung 167"/>
            <p:cNvCxnSpPr/>
            <p:nvPr userDrawn="1"/>
          </p:nvCxnSpPr>
          <p:spPr>
            <a:xfrm rot="16200000" flipH="1">
              <a:off x="9513888" y="-26828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Gerade Verbindung 168"/>
            <p:cNvCxnSpPr/>
            <p:nvPr userDrawn="1"/>
          </p:nvCxnSpPr>
          <p:spPr>
            <a:xfrm rot="16200000" flipH="1">
              <a:off x="372161" y="-2682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Gerade Verbindung 169"/>
            <p:cNvCxnSpPr/>
            <p:nvPr userDrawn="1"/>
          </p:nvCxnSpPr>
          <p:spPr>
            <a:xfrm rot="16200000" flipH="1">
              <a:off x="7764464" y="-26828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Gerade Verbindung 170"/>
            <p:cNvCxnSpPr/>
            <p:nvPr userDrawn="1"/>
          </p:nvCxnSpPr>
          <p:spPr>
            <a:xfrm rot="16200000" flipH="1">
              <a:off x="7907340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Gerade Verbindung 171"/>
            <p:cNvCxnSpPr/>
            <p:nvPr userDrawn="1"/>
          </p:nvCxnSpPr>
          <p:spPr>
            <a:xfrm rot="16200000" flipH="1">
              <a:off x="5878515" y="-26828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Gerade Verbindung 172"/>
            <p:cNvCxnSpPr/>
            <p:nvPr userDrawn="1"/>
          </p:nvCxnSpPr>
          <p:spPr>
            <a:xfrm rot="16200000" flipH="1">
              <a:off x="6021391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Gerade Verbindung 173"/>
            <p:cNvCxnSpPr/>
            <p:nvPr userDrawn="1"/>
          </p:nvCxnSpPr>
          <p:spPr>
            <a:xfrm rot="16200000" flipH="1">
              <a:off x="3997327" y="-26828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Gerade Verbindung 174"/>
            <p:cNvCxnSpPr/>
            <p:nvPr userDrawn="1"/>
          </p:nvCxnSpPr>
          <p:spPr>
            <a:xfrm rot="16200000" flipH="1">
              <a:off x="4140203" y="-26828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Gerade Verbindung 175"/>
            <p:cNvCxnSpPr/>
            <p:nvPr userDrawn="1"/>
          </p:nvCxnSpPr>
          <p:spPr>
            <a:xfrm flipH="1">
              <a:off x="-381000" y="389731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Gerade Verbindung 176"/>
            <p:cNvCxnSpPr/>
            <p:nvPr userDrawn="1"/>
          </p:nvCxnSpPr>
          <p:spPr>
            <a:xfrm flipH="1">
              <a:off x="-381000" y="40401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 Verbindung 177"/>
            <p:cNvCxnSpPr/>
            <p:nvPr userDrawn="1"/>
          </p:nvCxnSpPr>
          <p:spPr>
            <a:xfrm flipH="1">
              <a:off x="12315825" y="389731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 Verbindung 178"/>
            <p:cNvCxnSpPr/>
            <p:nvPr userDrawn="1"/>
          </p:nvCxnSpPr>
          <p:spPr>
            <a:xfrm flipH="1">
              <a:off x="12315825" y="404018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 Verbindung 179"/>
            <p:cNvCxnSpPr/>
            <p:nvPr userDrawn="1"/>
          </p:nvCxnSpPr>
          <p:spPr>
            <a:xfrm flipH="1">
              <a:off x="12315825" y="342900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Gerade Verbindung 180"/>
            <p:cNvCxnSpPr/>
            <p:nvPr userDrawn="1"/>
          </p:nvCxnSpPr>
          <p:spPr>
            <a:xfrm flipH="1">
              <a:off x="-381000" y="342900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4" name="cdtTextBox 11 Id18"/>
          <p:cNvSpPr txBox="1"/>
          <p:nvPr>
            <p:custDataLst>
              <p:tags r:id="rId10"/>
            </p:custDataLst>
          </p:nvPr>
        </p:nvSpPr>
        <p:spPr>
          <a:xfrm>
            <a:off x="8020050" y="6597650"/>
            <a:ext cx="3620777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indent="0" algn="r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Page </a:t>
            </a:r>
            <a:fld id="{91E7552C-A157-4A4F-8E99-698C0325FC94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indent="0" algn="r" defTabSz="1088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| </a:t>
            </a:r>
            <a:r>
              <a:rPr lang="en-US" sz="1000" kern="0" noProof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tricted </a:t>
            </a:r>
            <a:r>
              <a:rPr lang="en-US" sz="1000" kern="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  <a:r>
              <a:rPr lang="en-US" sz="1000" kern="0" baseline="0" noProof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000" kern="0" noProof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iemens</a:t>
            </a:r>
            <a:r>
              <a:rPr lang="en-US" sz="1000" kern="0" baseline="0" noProof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000" kern="0" noProof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lthcare</a:t>
            </a:r>
            <a:r>
              <a:rPr lang="en-US" sz="1000" kern="0" baseline="0" noProof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000" kern="0" noProof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mbH,</a:t>
            </a:r>
            <a:r>
              <a:rPr lang="en-US" sz="1000" kern="0" baseline="0" noProof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000" kern="0" noProof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016</a:t>
            </a:r>
          </a:p>
        </p:txBody>
      </p:sp>
      <p:sp>
        <p:nvSpPr>
          <p:cNvPr id="43" name="Abgerundetes Rechteck 42"/>
          <p:cNvSpPr/>
          <p:nvPr/>
        </p:nvSpPr>
        <p:spPr>
          <a:xfrm>
            <a:off x="12651640" y="6224588"/>
            <a:ext cx="1865457" cy="635000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 w="25400" cap="flat" cmpd="sng" algn="ctr">
            <a:noFill/>
            <a:prstDash val="solid"/>
          </a:ln>
          <a:effectLst/>
        </p:spPr>
        <p:txBody>
          <a:bodyPr lIns="72000" tIns="36000" rIns="72000" bIns="36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ustomize 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2D1E1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oter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2D1E1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b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2D1E1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the master view</a:t>
            </a:r>
          </a:p>
        </p:txBody>
      </p:sp>
    </p:spTree>
    <p:custDataLst>
      <p:tags r:id="rId7"/>
    </p:custDataLst>
    <p:extLst>
      <p:ext uri="{BB962C8B-B14F-4D97-AF65-F5344CB8AC3E}">
        <p14:creationId xmlns:p14="http://schemas.microsoft.com/office/powerpoint/2010/main" val="1749877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92" r:id="rId2"/>
    <p:sldLayoutId id="2147483691" r:id="rId3"/>
    <p:sldLayoutId id="2147483705" r:id="rId4"/>
    <p:sldLayoutId id="2147483699" r:id="rId5"/>
  </p:sldLayoutIdLst>
  <p:txStyles>
    <p:titleStyle>
      <a:lvl1pPr algn="l" defTabSz="1088959" rtl="0" eaLnBrk="1" latinLnBrk="0" hangingPunct="1">
        <a:spcBef>
          <a:spcPct val="0"/>
        </a:spcBef>
        <a:buNone/>
        <a:defRPr sz="3200" b="1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088959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None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1088959" rtl="0" eaLnBrk="1" latinLnBrk="0" hangingPunct="1"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6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defTabSz="1088959" rtl="0" eaLnBrk="1" latinLnBrk="0" hangingPunct="1"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1088959" rtl="0" eaLnBrk="1" latinLnBrk="0" hangingPunct="1"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66700" algn="l" defTabSz="1088959" rtl="0" eaLnBrk="1" latinLnBrk="0" hangingPunct="1"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2994637" indent="-272240" algn="l" defTabSz="10889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9117" indent="-272240" algn="l" defTabSz="10889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3596" indent="-272240" algn="l" defTabSz="10889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8076" indent="-272240" algn="l" defTabSz="10889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47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95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43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91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239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87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135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83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661" y="585352"/>
            <a:ext cx="9725135" cy="14999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662" y="2286529"/>
            <a:ext cx="9725136" cy="4024292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663" y="6472202"/>
            <a:ext cx="2155265" cy="2743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01075333-987F-4366-A35D-5F856E504B69}" type="datetimeFigureOut">
              <a:rPr lang="en-US" smtClean="0"/>
              <a:pPr/>
              <a:t>11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5455" y="6472202"/>
            <a:ext cx="5904533" cy="2743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42978" y="6472202"/>
            <a:ext cx="974174" cy="2743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42D8211A-935E-4250-867B-837F2994C07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397" y="826515"/>
            <a:ext cx="0" cy="914612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3889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</p:sldLayoutIdLst>
  <p:txStyles>
    <p:titleStyle>
      <a:lvl1pPr algn="l" defTabSz="914583" rtl="0" eaLnBrk="1" latinLnBrk="0" hangingPunct="1">
        <a:lnSpc>
          <a:spcPct val="80000"/>
        </a:lnSpc>
        <a:spcBef>
          <a:spcPct val="0"/>
        </a:spcBef>
        <a:buNone/>
        <a:defRPr sz="5001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58" indent="-91458" algn="l" defTabSz="914583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229" indent="-137187" algn="l" defTabSz="914583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146" indent="-137187" algn="l" defTabSz="914583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479" indent="-137187" algn="l" defTabSz="914583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395" indent="-137187" algn="l" defTabSz="914583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583" indent="-137187" algn="l" defTabSz="914583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916" indent="-137187" algn="l" defTabSz="914583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395" indent="-137187" algn="l" defTabSz="914583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728" indent="-137187" algn="l" defTabSz="914583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91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83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74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166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457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749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04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332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87.xml"/><Relationship Id="rId1" Type="http://schemas.openxmlformats.org/officeDocument/2006/relationships/tags" Target="../tags/tag157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87.xml"/><Relationship Id="rId1" Type="http://schemas.openxmlformats.org/officeDocument/2006/relationships/tags" Target="../tags/tag158.xml"/><Relationship Id="rId6" Type="http://schemas.openxmlformats.org/officeDocument/2006/relationships/image" Target="../media/image37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87.xml"/><Relationship Id="rId1" Type="http://schemas.openxmlformats.org/officeDocument/2006/relationships/tags" Target="../tags/tag159.xml"/><Relationship Id="rId4" Type="http://schemas.openxmlformats.org/officeDocument/2006/relationships/image" Target="../media/image4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87.xml"/><Relationship Id="rId1" Type="http://schemas.openxmlformats.org/officeDocument/2006/relationships/tags" Target="../tags/tag160.xml"/><Relationship Id="rId4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87.xml"/><Relationship Id="rId1" Type="http://schemas.openxmlformats.org/officeDocument/2006/relationships/tags" Target="../tags/tag161.xml"/><Relationship Id="rId4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87.xml"/><Relationship Id="rId1" Type="http://schemas.openxmlformats.org/officeDocument/2006/relationships/tags" Target="../tags/tag16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7.xml"/><Relationship Id="rId1" Type="http://schemas.openxmlformats.org/officeDocument/2006/relationships/tags" Target="../tags/tag149.xml"/><Relationship Id="rId4" Type="http://schemas.openxmlformats.org/officeDocument/2006/relationships/image" Target="../media/image3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7.xml"/><Relationship Id="rId1" Type="http://schemas.openxmlformats.org/officeDocument/2006/relationships/tags" Target="../tags/tag15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7.xml"/><Relationship Id="rId1" Type="http://schemas.openxmlformats.org/officeDocument/2006/relationships/tags" Target="../tags/tag151.xml"/><Relationship Id="rId4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7.xml"/><Relationship Id="rId1" Type="http://schemas.openxmlformats.org/officeDocument/2006/relationships/tags" Target="../tags/tag152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7.xml"/><Relationship Id="rId1" Type="http://schemas.openxmlformats.org/officeDocument/2006/relationships/tags" Target="../tags/tag153.xml"/><Relationship Id="rId5" Type="http://schemas.openxmlformats.org/officeDocument/2006/relationships/image" Target="../media/image36.png"/><Relationship Id="rId4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7.xml"/><Relationship Id="rId1" Type="http://schemas.openxmlformats.org/officeDocument/2006/relationships/tags" Target="../tags/tag154.xml"/><Relationship Id="rId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87.xml"/><Relationship Id="rId1" Type="http://schemas.openxmlformats.org/officeDocument/2006/relationships/tags" Target="../tags/tag155.xml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7.xml"/><Relationship Id="rId1" Type="http://schemas.openxmlformats.org/officeDocument/2006/relationships/tags" Target="../tags/tag156.xml"/><Relationship Id="rId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8E50D-7C01-4C90-AC0A-23D880172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el 4">
            <a:extLst>
              <a:ext uri="{FF2B5EF4-FFF2-40B4-BE49-F238E27FC236}">
                <a16:creationId xmlns:a16="http://schemas.microsoft.com/office/drawing/2014/main" id="{7C552763-4098-414D-A05E-94DBC84748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883984" y="3067610"/>
            <a:ext cx="11160125" cy="2308324"/>
          </a:xfrm>
        </p:spPr>
        <p:txBody>
          <a:bodyPr>
            <a:normAutofit fontScale="97500"/>
          </a:bodyPr>
          <a:lstStyle/>
          <a:p>
            <a:r>
              <a:rPr lang="en-US" sz="6000" i="1" cap="small" spc="300"/>
              <a:t>TDD and Coding </a:t>
            </a:r>
            <a:r>
              <a:rPr lang="en-US" sz="6000" i="1" cap="small" spc="300" dirty="0"/>
              <a:t>Kata </a:t>
            </a:r>
            <a:br>
              <a:rPr lang="en-US" sz="6000" i="1" cap="small" spc="300" dirty="0"/>
            </a:br>
            <a:endParaRPr lang="en-US" sz="6000" i="1" cap="small" spc="3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8A28D3-808F-43ED-995C-B20B682C29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848FC3-6AAC-4B35-B235-1F384C7B2F9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7181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482601" y="216377"/>
            <a:ext cx="9144000" cy="369332"/>
          </a:xfrm>
        </p:spPr>
        <p:txBody>
          <a:bodyPr>
            <a:normAutofit fontScale="90000"/>
          </a:bodyPr>
          <a:lstStyle/>
          <a:p>
            <a:r>
              <a:rPr lang="en-US" sz="2400" b="0" dirty="0"/>
              <a:t>Example </a:t>
            </a:r>
            <a:r>
              <a:rPr lang="en-US" sz="2400" b="0" dirty="0" err="1"/>
              <a:t>contd</a:t>
            </a:r>
            <a:r>
              <a:rPr lang="en-US" sz="2400" b="0" dirty="0"/>
              <a:t>…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CCEE5E-66B6-4694-8F5D-8072E51C0E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1720" y="2366725"/>
            <a:ext cx="5786904" cy="154229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07D7A10-3CA8-4D5C-A64C-BF6CE6B30F5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848" t="18160" r="36982" b="50631"/>
          <a:stretch/>
        </p:blipFill>
        <p:spPr>
          <a:xfrm>
            <a:off x="7383780" y="1988820"/>
            <a:ext cx="3954780" cy="18859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44552520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482601" y="216377"/>
            <a:ext cx="9144000" cy="369332"/>
          </a:xfrm>
        </p:spPr>
        <p:txBody>
          <a:bodyPr>
            <a:normAutofit fontScale="90000"/>
          </a:bodyPr>
          <a:lstStyle/>
          <a:p>
            <a:r>
              <a:rPr lang="en-US" sz="2400" b="0" dirty="0"/>
              <a:t>Example </a:t>
            </a:r>
            <a:r>
              <a:rPr lang="en-US" sz="2400" b="0" dirty="0" err="1"/>
              <a:t>contd</a:t>
            </a:r>
            <a:r>
              <a:rPr lang="en-US" sz="2400" b="0" dirty="0"/>
              <a:t>…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CA8471-F013-4699-AE67-78D2A964C19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611" t="14944" b="25475"/>
          <a:stretch/>
        </p:blipFill>
        <p:spPr>
          <a:xfrm>
            <a:off x="1840473" y="1349692"/>
            <a:ext cx="6460144" cy="36004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7BC0E79-04F9-4458-97D8-90E8D6FB4E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81923" y="1457706"/>
            <a:ext cx="3368907" cy="1812317"/>
          </a:xfrm>
          <a:prstGeom prst="rect">
            <a:avLst/>
          </a:prstGeom>
          <a:solidFill>
            <a:srgbClr val="FFFFCC"/>
          </a:solidFill>
          <a:ln w="69850">
            <a:solidFill>
              <a:schemeClr val="accent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338CCC0-C295-4C25-BBE1-02FAF9438A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40473" y="5055355"/>
            <a:ext cx="5786904" cy="154229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468055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Advantages of TDD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82600" y="1873280"/>
            <a:ext cx="10991360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dirty="0"/>
              <a:t>Well tested code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en-US" dirty="0"/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dirty="0"/>
              <a:t>Different point of view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en-US" dirty="0"/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dirty="0"/>
              <a:t>Code written is testable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en-US" dirty="0"/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dirty="0"/>
              <a:t>Acts as a form of documentation</a:t>
            </a:r>
          </a:p>
          <a:p>
            <a:pPr marL="457200" indent="-457200"/>
            <a:r>
              <a:rPr lang="en-US" dirty="0"/>
              <a:t>…</a:t>
            </a:r>
          </a:p>
          <a:p>
            <a:endParaRPr lang="en-US" sz="2800" b="1" i="1" dirty="0"/>
          </a:p>
        </p:txBody>
      </p:sp>
      <p:pic>
        <p:nvPicPr>
          <p:cNvPr id="120834" name="Picture 2" descr="D:\Ddrive\Manjunath\Presentations\Images\Advantages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854709" y="2532184"/>
            <a:ext cx="2908666" cy="2908667"/>
          </a:xfrm>
          <a:prstGeom prst="rect">
            <a:avLst/>
          </a:prstGeom>
          <a:noFill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920826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Kata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5545" y="2584939"/>
            <a:ext cx="1099136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An individual training exercise in karate and </a:t>
            </a:r>
          </a:p>
          <a:p>
            <a:r>
              <a:rPr lang="en-US" sz="28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other martial arts.</a:t>
            </a:r>
            <a:endParaRPr lang="en-US" sz="2800" b="1" u="sng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9C3353-C054-4FB9-9C17-397153DE64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2716" y="1605410"/>
            <a:ext cx="2504189" cy="389611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9208263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C41094-FA4B-4FA2-A1C0-35D3D6222A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54730" y="471353"/>
            <a:ext cx="5280660" cy="61398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67399579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6" name="Rectangle 5"/>
          <p:cNvSpPr/>
          <p:nvPr/>
        </p:nvSpPr>
        <p:spPr>
          <a:xfrm>
            <a:off x="688144" y="2842776"/>
            <a:ext cx="8389354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/>
          </a:p>
          <a:p>
            <a:r>
              <a:rPr lang="en-US" dirty="0"/>
              <a:t>Let us use TDD to develop </a:t>
            </a:r>
            <a:r>
              <a:rPr lang="en-US" sz="2800" b="1" i="1" dirty="0"/>
              <a:t>“</a:t>
            </a:r>
            <a:r>
              <a:rPr lang="en-US" sz="2800" b="1" i="1" dirty="0" err="1"/>
              <a:t>FizzBuzz</a:t>
            </a:r>
            <a:r>
              <a:rPr lang="en-US" sz="2800" b="1" i="1" dirty="0"/>
              <a:t>” kata </a:t>
            </a:r>
            <a:r>
              <a:rPr lang="en-US" dirty="0"/>
              <a:t>Using C# and </a:t>
            </a:r>
            <a:r>
              <a:rPr lang="en-US" dirty="0" err="1"/>
              <a:t>Nunit</a:t>
            </a:r>
            <a:r>
              <a:rPr lang="en-US" dirty="0"/>
              <a:t>.</a:t>
            </a:r>
            <a:endParaRPr lang="en-US" b="1" u="sng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671472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 flipH="1">
            <a:off x="1669562" y="1899138"/>
            <a:ext cx="6524868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2800" dirty="0"/>
              <a:t> What is TDD</a:t>
            </a:r>
          </a:p>
          <a:p>
            <a:pPr>
              <a:buFont typeface="Wingdings" pitchFamily="2" charset="2"/>
              <a:buChar char="Ø"/>
            </a:pPr>
            <a:endParaRPr lang="en-US" sz="2800" dirty="0"/>
          </a:p>
          <a:p>
            <a:pPr>
              <a:buFont typeface="Wingdings" pitchFamily="2" charset="2"/>
              <a:buChar char="Ø"/>
            </a:pPr>
            <a:r>
              <a:rPr lang="en-US" sz="2800" dirty="0"/>
              <a:t> What is a kata </a:t>
            </a:r>
          </a:p>
          <a:p>
            <a:pPr>
              <a:buFont typeface="Wingdings" pitchFamily="2" charset="2"/>
              <a:buChar char="Ø"/>
            </a:pPr>
            <a:endParaRPr lang="en-US" sz="2800" dirty="0"/>
          </a:p>
          <a:p>
            <a:pPr>
              <a:buFont typeface="Wingdings" pitchFamily="2" charset="2"/>
              <a:buChar char="Ø"/>
            </a:pPr>
            <a:r>
              <a:rPr lang="en-US" sz="2800" dirty="0"/>
              <a:t> Demo</a:t>
            </a:r>
          </a:p>
          <a:p>
            <a:pPr>
              <a:buFont typeface="Wingdings" pitchFamily="2" charset="2"/>
              <a:buChar char="Ø"/>
            </a:pPr>
            <a:endParaRPr lang="en-US" sz="2800" dirty="0"/>
          </a:p>
        </p:txBody>
      </p:sp>
      <p:pic>
        <p:nvPicPr>
          <p:cNvPr id="119810" name="Picture 2" descr="D:\Ddrive\Manjunath\Presentations\Images\agenda.jpe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404711" y="1819275"/>
            <a:ext cx="3302000" cy="2806700"/>
          </a:xfrm>
          <a:prstGeom prst="rect">
            <a:avLst/>
          </a:prstGeom>
          <a:noFill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9208263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TDD </a:t>
            </a:r>
            <a:r>
              <a:rPr lang="en-US" sz="2000" dirty="0"/>
              <a:t>(Test driven development)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 flipH="1">
            <a:off x="3024504" y="2024868"/>
            <a:ext cx="5083809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i="1" dirty="0">
                <a:solidFill>
                  <a:srgbClr val="00B050"/>
                </a:solidFill>
              </a:rPr>
              <a:t>Writing</a:t>
            </a:r>
            <a:r>
              <a:rPr lang="en-US" sz="3600" dirty="0"/>
              <a:t> </a:t>
            </a:r>
            <a:r>
              <a:rPr lang="en-US" sz="4400" b="1" i="1" dirty="0">
                <a:solidFill>
                  <a:srgbClr val="00B050"/>
                </a:solidFill>
              </a:rPr>
              <a:t>unit tests before the production code is written</a:t>
            </a:r>
            <a:endParaRPr lang="en-US" sz="3200" b="1" dirty="0">
              <a:solidFill>
                <a:schemeClr val="accent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208263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5992CED-013C-4248-AB5B-EFE8E2620A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434A4B3-E895-4B19-B66D-967A3D70E932}"/>
              </a:ext>
            </a:extLst>
          </p:cNvPr>
          <p:cNvSpPr/>
          <p:nvPr/>
        </p:nvSpPr>
        <p:spPr>
          <a:xfrm>
            <a:off x="3355174" y="3962037"/>
            <a:ext cx="1593130" cy="1564849"/>
          </a:xfrm>
          <a:prstGeom prst="rect">
            <a:avLst/>
          </a:prstGeom>
          <a:solidFill>
            <a:srgbClr val="FFFFFF">
              <a:alpha val="9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A9475B-F185-4283-A0E3-E93A6B69F4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60729" y="971551"/>
            <a:ext cx="7409883" cy="50063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9208263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Step 1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118786" name="Picture 2"/>
          <p:cNvPicPr>
            <a:picLocks noChangeAspect="1" noChangeArrowheads="1"/>
          </p:cNvPicPr>
          <p:nvPr/>
        </p:nvPicPr>
        <p:blipFill rotWithShape="1">
          <a:blip r:embed="rId4"/>
          <a:srcRect t="-41468" r="52381" b="41468"/>
          <a:stretch/>
        </p:blipFill>
        <p:spPr bwMode="auto">
          <a:xfrm>
            <a:off x="1655174" y="108050"/>
            <a:ext cx="2862263" cy="5023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434A4B3-E895-4B19-B66D-967A3D70E932}"/>
              </a:ext>
            </a:extLst>
          </p:cNvPr>
          <p:cNvSpPr/>
          <p:nvPr/>
        </p:nvSpPr>
        <p:spPr>
          <a:xfrm>
            <a:off x="3355174" y="3962037"/>
            <a:ext cx="1593130" cy="1564849"/>
          </a:xfrm>
          <a:prstGeom prst="rect">
            <a:avLst/>
          </a:prstGeom>
          <a:solidFill>
            <a:srgbClr val="FFFFFF">
              <a:alpha val="9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B0BE66-8159-473F-8893-7C39B8A1810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12236"/>
          <a:stretch/>
        </p:blipFill>
        <p:spPr>
          <a:xfrm>
            <a:off x="5054601" y="2174481"/>
            <a:ext cx="6271767" cy="285014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9093514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Step 2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118786" name="Picture 2"/>
          <p:cNvPicPr>
            <a:picLocks noChangeAspect="1" noChangeArrowheads="1"/>
          </p:cNvPicPr>
          <p:nvPr/>
        </p:nvPicPr>
        <p:blipFill rotWithShape="1">
          <a:blip r:embed="rId4"/>
          <a:srcRect l="45823" b="38386"/>
          <a:stretch/>
        </p:blipFill>
        <p:spPr bwMode="auto">
          <a:xfrm>
            <a:off x="2428199" y="1577265"/>
            <a:ext cx="3256470" cy="30954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53E60D2-91A1-473B-9B41-28116CB53113}"/>
              </a:ext>
            </a:extLst>
          </p:cNvPr>
          <p:cNvSpPr/>
          <p:nvPr/>
        </p:nvSpPr>
        <p:spPr>
          <a:xfrm>
            <a:off x="1874066" y="3124994"/>
            <a:ext cx="1507787" cy="145349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EF782D-40C8-48E7-96AB-D3CF6A7EA70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9463"/>
          <a:stretch/>
        </p:blipFill>
        <p:spPr>
          <a:xfrm>
            <a:off x="6238802" y="1385108"/>
            <a:ext cx="4855918" cy="383104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3865306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Step 3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118786" name="Picture 2"/>
          <p:cNvPicPr>
            <a:picLocks noChangeAspect="1" noChangeArrowheads="1"/>
          </p:cNvPicPr>
          <p:nvPr/>
        </p:nvPicPr>
        <p:blipFill rotWithShape="1">
          <a:blip r:embed="rId4"/>
          <a:srcRect t="57548"/>
          <a:stretch/>
        </p:blipFill>
        <p:spPr bwMode="auto">
          <a:xfrm>
            <a:off x="3236912" y="2363413"/>
            <a:ext cx="6010783" cy="213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3498972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The technique of TDD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118786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236912" y="1486270"/>
            <a:ext cx="6010783" cy="5023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27128758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482601" y="216377"/>
            <a:ext cx="9144000" cy="369332"/>
          </a:xfrm>
        </p:spPr>
        <p:txBody>
          <a:bodyPr>
            <a:normAutofit fontScale="90000"/>
          </a:bodyPr>
          <a:lstStyle/>
          <a:p>
            <a:r>
              <a:rPr lang="en-US" sz="2400" b="0" dirty="0"/>
              <a:t>Example </a:t>
            </a:r>
            <a:r>
              <a:rPr lang="en-US" sz="2400" b="0" dirty="0" err="1"/>
              <a:t>contd</a:t>
            </a:r>
            <a:r>
              <a:rPr lang="en-US" sz="2400" b="0" dirty="0"/>
              <a:t>…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CCEE5E-66B6-4694-8F5D-8072E51C0E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1720" y="2366725"/>
            <a:ext cx="5786904" cy="154229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8801186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ARTICULATE_PROJECT_OPEN" val="0"/>
  <p:tag name="ARTICULATE_SLIDE_COUNT" val="5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31.jpeg"/></Relationships>
</file>

<file path=ppt/theme/theme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H_Clinical_PPT_Template_16x9">
  <a:themeElements>
    <a:clrScheme name="SH_colors">
      <a:dk1>
        <a:srgbClr val="FFFFFF"/>
      </a:dk1>
      <a:lt1>
        <a:srgbClr val="000000"/>
      </a:lt1>
      <a:dk2>
        <a:srgbClr val="EC6602"/>
      </a:dk2>
      <a:lt2>
        <a:srgbClr val="D5D2D0"/>
      </a:lt2>
      <a:accent1>
        <a:srgbClr val="EC6602"/>
      </a:accent1>
      <a:accent2>
        <a:srgbClr val="910041"/>
      </a:accent2>
      <a:accent3>
        <a:srgbClr val="009999"/>
      </a:accent3>
      <a:accent4>
        <a:srgbClr val="F9B591"/>
      </a:accent4>
      <a:accent5>
        <a:srgbClr val="BE82A5"/>
      </a:accent5>
      <a:accent6>
        <a:srgbClr val="87D2D2"/>
      </a:accent6>
      <a:hlink>
        <a:srgbClr val="EC6602"/>
      </a:hlink>
      <a:folHlink>
        <a:srgbClr val="910041"/>
      </a:folHlink>
    </a:clrScheme>
    <a:fontScheme name="SH_fon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Healthy Orange 100%">
      <a:srgbClr val="EC6602"/>
    </a:custClr>
    <a:custClr name="Blushing Berry 100%">
      <a:srgbClr val="910041"/>
    </a:custClr>
    <a:custClr name="Siemens Petrol 100%">
      <a:srgbClr val="009999"/>
    </a:custClr>
    <a:custClr name="Strong Slate 100%">
      <a:srgbClr val="2D1E1C"/>
    </a:custClr>
    <a:custClr name="SH Yellow">
      <a:srgbClr val="FFDD00"/>
    </a:custClr>
    <a:custClr name="SH Red">
      <a:srgbClr val="E4001F"/>
    </a:custClr>
    <a:custClr name="SH Purple">
      <a:srgbClr val="5B457F"/>
    </a:custClr>
    <a:custClr name="SH Blue">
      <a:srgbClr val="0095DB"/>
    </a:custClr>
    <a:custClr name="SH Green">
      <a:srgbClr val="009D3C"/>
    </a:custClr>
    <a:custClr name="White">
      <a:srgbClr val="FFFFFF"/>
    </a:custClr>
    <a:custClr name="Healthy Orange 75%">
      <a:srgbClr val="F29257"/>
    </a:custClr>
    <a:custClr name="Blushing Berry 75%">
      <a:srgbClr val="B9507D"/>
    </a:custClr>
    <a:custClr name="Siemens Petrol 75%">
      <a:srgbClr val="00B9B9"/>
    </a:custClr>
    <a:custClr name="Strong Slate 75%">
      <a:srgbClr val="6E6868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Healthy Orange 50%">
      <a:srgbClr val="F9B591"/>
    </a:custClr>
    <a:custClr name="Blushing Berry 50%">
      <a:srgbClr val="BE82A5"/>
    </a:custClr>
    <a:custClr name="Siemens Petrol 50%">
      <a:srgbClr val="87D2D2"/>
    </a:custClr>
    <a:custClr name="Strong Slate 50%">
      <a:srgbClr val="A6A2A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Healthy Orange 25%">
      <a:srgbClr val="FDDDCB"/>
    </a:custClr>
    <a:custClr name="Blushing Berry 25%">
      <a:srgbClr val="E1C8DC"/>
    </a:custClr>
    <a:custClr name="Siemens Petrol 25%">
      <a:srgbClr val="C8E6E6"/>
    </a:custClr>
    <a:custClr name="Strong Slate 25%">
      <a:srgbClr val="D5D2D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</a:theme>
</file>

<file path=ppt/theme/theme4.xml><?xml version="1.0" encoding="utf-8"?>
<a:theme xmlns:a="http://schemas.openxmlformats.org/drawingml/2006/main" name="Integra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5.xml><?xml version="1.0" encoding="utf-8"?>
<a:theme xmlns:a="http://schemas.openxmlformats.org/drawingml/2006/main" name="Larissa">
  <a:themeElements>
    <a:clrScheme name="SH_colors">
      <a:dk1>
        <a:srgbClr val="FFFFFF"/>
      </a:dk1>
      <a:lt1>
        <a:srgbClr val="000000"/>
      </a:lt1>
      <a:dk2>
        <a:srgbClr val="EC6602"/>
      </a:dk2>
      <a:lt2>
        <a:srgbClr val="CAC7C7"/>
      </a:lt2>
      <a:accent1>
        <a:srgbClr val="EC6602"/>
      </a:accent1>
      <a:accent2>
        <a:srgbClr val="830040"/>
      </a:accent2>
      <a:accent3>
        <a:srgbClr val="009999"/>
      </a:accent3>
      <a:accent4>
        <a:srgbClr val="F6B381"/>
      </a:accent4>
      <a:accent5>
        <a:srgbClr val="C180A0"/>
      </a:accent5>
      <a:accent6>
        <a:srgbClr val="80CCCC"/>
      </a:accent6>
      <a:hlink>
        <a:srgbClr val="EC6602"/>
      </a:hlink>
      <a:folHlink>
        <a:srgbClr val="830040"/>
      </a:folHlink>
    </a:clrScheme>
    <a:fontScheme name="SH_fon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Healthy Orange 100%">
      <a:srgbClr val="EC6602"/>
    </a:custClr>
    <a:custClr name="Blushing Berry 100%">
      <a:srgbClr val="910041"/>
    </a:custClr>
    <a:custClr name="Siemens Petrol 100%">
      <a:srgbClr val="009999"/>
    </a:custClr>
    <a:custClr name="Strong Slate 100%">
      <a:srgbClr val="2D1E1C"/>
    </a:custClr>
    <a:custClr name="SH Yellow">
      <a:srgbClr val="FFDD00"/>
    </a:custClr>
    <a:custClr name="SH Red">
      <a:srgbClr val="E4001F"/>
    </a:custClr>
    <a:custClr name="SH Purple">
      <a:srgbClr val="5B457F"/>
    </a:custClr>
    <a:custClr name="SH Blue">
      <a:srgbClr val="0095DB"/>
    </a:custClr>
    <a:custClr name="SH Green">
      <a:srgbClr val="009D3C"/>
    </a:custClr>
    <a:custClr name="White">
      <a:srgbClr val="FFFFFF"/>
    </a:custClr>
    <a:custClr name="Healthy Orange 75%">
      <a:srgbClr val="F29257"/>
    </a:custClr>
    <a:custClr name="Blushing Berry 75%">
      <a:srgbClr val="B9507D"/>
    </a:custClr>
    <a:custClr name="Siemens Petrol 75%">
      <a:srgbClr val="00B9B9"/>
    </a:custClr>
    <a:custClr name="Strong Slate 75%">
      <a:srgbClr val="6E6868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Healthy Orange 50%">
      <a:srgbClr val="F9B591"/>
    </a:custClr>
    <a:custClr name="Blushing Berry 50%">
      <a:srgbClr val="BE82A5"/>
    </a:custClr>
    <a:custClr name="Siemens Petrol 50%">
      <a:srgbClr val="87D2D2"/>
    </a:custClr>
    <a:custClr name="Strong Slate 50%">
      <a:srgbClr val="A6A2A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Healthy Orange 25%">
      <a:srgbClr val="FDDDCB"/>
    </a:custClr>
    <a:custClr name="Blushing Berry 25%">
      <a:srgbClr val="E1C8DC"/>
    </a:custClr>
    <a:custClr name="Siemens Petrol 25%">
      <a:srgbClr val="C8E6E6"/>
    </a:custClr>
    <a:custClr name="Strong Slate 25%">
      <a:srgbClr val="D5D2D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</a:theme>
</file>

<file path=ppt/theme/theme6.xml><?xml version="1.0" encoding="utf-8"?>
<a:theme xmlns:a="http://schemas.openxmlformats.org/drawingml/2006/main" name="Larissa">
  <a:themeElements>
    <a:clrScheme name="SH_colors">
      <a:dk1>
        <a:srgbClr val="FFFFFF"/>
      </a:dk1>
      <a:lt1>
        <a:srgbClr val="000000"/>
      </a:lt1>
      <a:dk2>
        <a:srgbClr val="EC6602"/>
      </a:dk2>
      <a:lt2>
        <a:srgbClr val="CAC7C7"/>
      </a:lt2>
      <a:accent1>
        <a:srgbClr val="EC6602"/>
      </a:accent1>
      <a:accent2>
        <a:srgbClr val="830040"/>
      </a:accent2>
      <a:accent3>
        <a:srgbClr val="009999"/>
      </a:accent3>
      <a:accent4>
        <a:srgbClr val="F6B381"/>
      </a:accent4>
      <a:accent5>
        <a:srgbClr val="C180A0"/>
      </a:accent5>
      <a:accent6>
        <a:srgbClr val="80CCCC"/>
      </a:accent6>
      <a:hlink>
        <a:srgbClr val="EC6602"/>
      </a:hlink>
      <a:folHlink>
        <a:srgbClr val="830040"/>
      </a:folHlink>
    </a:clrScheme>
    <a:fontScheme name="SH_fon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Healthy Orange 100%">
      <a:srgbClr val="EC6602"/>
    </a:custClr>
    <a:custClr name="Blushing Berry 100%">
      <a:srgbClr val="910041"/>
    </a:custClr>
    <a:custClr name="Siemens Petrol 100%">
      <a:srgbClr val="009999"/>
    </a:custClr>
    <a:custClr name="Strong Slate 100%">
      <a:srgbClr val="2D1E1C"/>
    </a:custClr>
    <a:custClr name="SH Yellow">
      <a:srgbClr val="FFDD00"/>
    </a:custClr>
    <a:custClr name="SH Red">
      <a:srgbClr val="E4001F"/>
    </a:custClr>
    <a:custClr name="SH Purple">
      <a:srgbClr val="5B457F"/>
    </a:custClr>
    <a:custClr name="SH Blue">
      <a:srgbClr val="0095DB"/>
    </a:custClr>
    <a:custClr name="SH Green">
      <a:srgbClr val="009D3C"/>
    </a:custClr>
    <a:custClr name="White">
      <a:srgbClr val="FFFFFF"/>
    </a:custClr>
    <a:custClr name="Healthy Orange 75%">
      <a:srgbClr val="F29257"/>
    </a:custClr>
    <a:custClr name="Blushing Berry 75%">
      <a:srgbClr val="B9507D"/>
    </a:custClr>
    <a:custClr name="Siemens Petrol 75%">
      <a:srgbClr val="00B9B9"/>
    </a:custClr>
    <a:custClr name="Strong Slate 75%">
      <a:srgbClr val="6E6868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Healthy Orange 50%">
      <a:srgbClr val="F9B591"/>
    </a:custClr>
    <a:custClr name="Blushing Berry 50%">
      <a:srgbClr val="BE82A5"/>
    </a:custClr>
    <a:custClr name="Siemens Petrol 50%">
      <a:srgbClr val="87D2D2"/>
    </a:custClr>
    <a:custClr name="Strong Slate 50%">
      <a:srgbClr val="A6A2A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Healthy Orange 25%">
      <a:srgbClr val="FDDDCB"/>
    </a:custClr>
    <a:custClr name="Blushing Berry 25%">
      <a:srgbClr val="E1C8DC"/>
    </a:custClr>
    <a:custClr name="Siemens Petrol 25%">
      <a:srgbClr val="C8E6E6"/>
    </a:custClr>
    <a:custClr name="Strong Slate 25%">
      <a:srgbClr val="D5D2D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E20_ACU_Refactoring</Template>
  <TotalTime>5115</TotalTime>
  <Words>260</Words>
  <Application>Microsoft Office PowerPoint</Application>
  <PresentationFormat>Custom</PresentationFormat>
  <Paragraphs>61</Paragraphs>
  <Slides>1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Arial</vt:lpstr>
      <vt:lpstr>Arial</vt:lpstr>
      <vt:lpstr>Calibri</vt:lpstr>
      <vt:lpstr>Tw Cen MT</vt:lpstr>
      <vt:lpstr>Tw Cen MT Condensed</vt:lpstr>
      <vt:lpstr>Verdana</vt:lpstr>
      <vt:lpstr>Wingdings</vt:lpstr>
      <vt:lpstr>Wingdings 3</vt:lpstr>
      <vt:lpstr>1_Custom Design</vt:lpstr>
      <vt:lpstr>Custom Design</vt:lpstr>
      <vt:lpstr>SH_Clinical_PPT_Template_16x9</vt:lpstr>
      <vt:lpstr>Integral</vt:lpstr>
      <vt:lpstr>think-cell Folie</vt:lpstr>
      <vt:lpstr>PowerPoint Presentation</vt:lpstr>
      <vt:lpstr>Agenda</vt:lpstr>
      <vt:lpstr>TDD (Test driven development)</vt:lpstr>
      <vt:lpstr>PowerPoint Presentation</vt:lpstr>
      <vt:lpstr>Step 1</vt:lpstr>
      <vt:lpstr>Step 2</vt:lpstr>
      <vt:lpstr>Step 3</vt:lpstr>
      <vt:lpstr>The technique of TDD</vt:lpstr>
      <vt:lpstr>Example contd…</vt:lpstr>
      <vt:lpstr>Example contd…</vt:lpstr>
      <vt:lpstr>Example contd…</vt:lpstr>
      <vt:lpstr>Advantages of TDD</vt:lpstr>
      <vt:lpstr>Kata</vt:lpstr>
      <vt:lpstr>PowerPoint Presentation</vt:lpstr>
      <vt:lpstr>Exercise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 title Calibri Bold 36 pt</dc:title>
  <dc:creator>IC009274</dc:creator>
  <cp:keywords>C_Unrestricted</cp:keywords>
  <cp:lastModifiedBy>K, Manjunath</cp:lastModifiedBy>
  <cp:revision>1570</cp:revision>
  <cp:lastPrinted>2016-07-27T10:05:42Z</cp:lastPrinted>
  <dcterms:created xsi:type="dcterms:W3CDTF">2016-09-26T17:10:55Z</dcterms:created>
  <dcterms:modified xsi:type="dcterms:W3CDTF">2021-07-11T15:39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E7ADF926-99D5-45F0-ADB9-7B570BC1AB94</vt:lpwstr>
  </property>
  <property fmtid="{D5CDD505-2E9C-101B-9397-08002B2CF9AE}" pid="3" name="ArticulatePath">
    <vt:lpwstr>Präsentation2</vt:lpwstr>
  </property>
  <property fmtid="{D5CDD505-2E9C-101B-9397-08002B2CF9AE}" pid="4" name="_NewReviewCycle">
    <vt:lpwstr/>
  </property>
  <property fmtid="{D5CDD505-2E9C-101B-9397-08002B2CF9AE}" pid="5" name="Document Confidentiality">
    <vt:lpwstr>Unrestricted</vt:lpwstr>
  </property>
  <property fmtid="{D5CDD505-2E9C-101B-9397-08002B2CF9AE}" pid="6" name="_AdHocReviewCycleID">
    <vt:i4>-893515875</vt:i4>
  </property>
  <property fmtid="{D5CDD505-2E9C-101B-9397-08002B2CF9AE}" pid="7" name="_EmailSubject">
    <vt:lpwstr>Collimator simulation</vt:lpwstr>
  </property>
  <property fmtid="{D5CDD505-2E9C-101B-9397-08002B2CF9AE}" pid="8" name="_AuthorEmail">
    <vt:lpwstr>harshavardhan.kadiyala@siemens.com</vt:lpwstr>
  </property>
  <property fmtid="{D5CDD505-2E9C-101B-9397-08002B2CF9AE}" pid="9" name="_AuthorEmailDisplayName">
    <vt:lpwstr>Kadiyala, Harshavardhan (HC SI DC IN H2 AX SSY SC RTC-A)</vt:lpwstr>
  </property>
  <property fmtid="{D5CDD505-2E9C-101B-9397-08002B2CF9AE}" pid="10" name="_PreviousAdHocReviewCycleID">
    <vt:i4>-1846927846</vt:i4>
  </property>
  <property fmtid="{D5CDD505-2E9C-101B-9397-08002B2CF9AE}" pid="11" name="Document_Confidentiality">
    <vt:lpwstr>Unrestricted</vt:lpwstr>
  </property>
</Properties>
</file>